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  <p:sldMasterId id="2147483768" r:id="rId5"/>
  </p:sldMasterIdLst>
  <p:notesMasterIdLst>
    <p:notesMasterId r:id="rId21"/>
  </p:notesMasterIdLst>
  <p:sldIdLst>
    <p:sldId id="2147481607" r:id="rId6"/>
    <p:sldId id="2147481608" r:id="rId7"/>
    <p:sldId id="2147481609" r:id="rId8"/>
    <p:sldId id="2147481610" r:id="rId9"/>
    <p:sldId id="2147481611" r:id="rId10"/>
    <p:sldId id="2147481612" r:id="rId11"/>
    <p:sldId id="2147481613" r:id="rId12"/>
    <p:sldId id="2147481614" r:id="rId13"/>
    <p:sldId id="2147481615" r:id="rId14"/>
    <p:sldId id="2147481616" r:id="rId15"/>
    <p:sldId id="2147481617" r:id="rId16"/>
    <p:sldId id="2147481618" r:id="rId17"/>
    <p:sldId id="2147481621" r:id="rId18"/>
    <p:sldId id="2147481619" r:id="rId19"/>
    <p:sldId id="214748025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rth Kivu Example" id="{2AA4F5E8-68E6-43DE-B729-810F0BF6A43C}">
          <p14:sldIdLst>
            <p14:sldId id="2147481607"/>
            <p14:sldId id="2147481608"/>
            <p14:sldId id="2147481609"/>
            <p14:sldId id="2147481610"/>
            <p14:sldId id="2147481611"/>
            <p14:sldId id="2147481612"/>
            <p14:sldId id="2147481613"/>
            <p14:sldId id="2147481614"/>
            <p14:sldId id="2147481615"/>
            <p14:sldId id="2147481616"/>
            <p14:sldId id="2147481617"/>
            <p14:sldId id="2147481618"/>
            <p14:sldId id="2147481621"/>
            <p14:sldId id="2147481619"/>
            <p14:sldId id="21474802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40A825-6B71-6604-6BE7-375FF877C283}" name="PRASAD, Manya" initials="PM" userId="S::maprasad@who.int::4d3e3f85-3303-4c75-8388-d8a09ebfa3e6" providerId="AD"/>
  <p188:author id="{FC350D41-6AA6-5C08-E98F-62F0A129AAC3}" name="RYLANCE, Jamie" initials="RJ" userId="S::rylancej@who.int::96008e3e-4e55-4787-aaf1-12278ca655e6" providerId="AD"/>
  <p188:author id="{575E5B7D-91CF-EA21-C0F0-4D359924D2A7}" name="BELLARE, Nita" initials="BN" userId="S::bellaren@who.int::3c78f1ba-61ec-4b21-82d2-4819bfc03e20" providerId="AD"/>
  <p188:author id="{52CBA0C8-973B-1173-542F-6F0197DF299F}" name="Jamie Rylance" initials="JR" userId="Jamie Rylanc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81AD"/>
    <a:srgbClr val="BF6169"/>
    <a:srgbClr val="4472C4"/>
    <a:srgbClr val="182757"/>
    <a:srgbClr val="FF681E"/>
    <a:srgbClr val="FFFFFF"/>
    <a:srgbClr val="009ADE"/>
    <a:srgbClr val="0070C0"/>
    <a:srgbClr val="00205C"/>
    <a:srgbClr val="F4A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EDC50C-7698-9AA7-916C-DC2F479B738A}" v="2" dt="2025-10-30T08:00:17.610"/>
    <p1510:client id="{B3FBB642-AE00-428F-8FF8-5CECE4F15F0A}" v="2" dt="2025-10-29T10:57:44.1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8"/>
  </p:normalViewPr>
  <p:slideViewPr>
    <p:cSldViewPr snapToGrid="0">
      <p:cViewPr varScale="1">
        <p:scale>
          <a:sx n="120" d="100"/>
          <a:sy n="120" d="100"/>
        </p:scale>
        <p:origin x="8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F02105-B2AB-4B42-955D-93FBF56100F0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882566-5A37-4C5E-9C75-E380A03A5C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9405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FB81BC-D48A-137E-457C-268F5C8202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94D395-BE34-E8E0-FB0C-20EF3DF778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4BAD6C2-13F5-7E28-C493-0EC3E1A855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48488B-360A-1FE7-1B6F-1344F0DE5E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795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03A5A-B879-CE5D-9BEC-F461730E67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AA80EE-4F96-2CDB-3729-D4BCF016E8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596070-165B-A3D5-4FE1-C7421BFA98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FF88DD-DF08-5B0C-36DE-0DF7A5CC5E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844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4DAA5-57B6-03E8-7077-429E54DB14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E3A1A53-E682-3CAA-0B04-04A08DEAD0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096CFA-1856-8F7B-E3D6-6E09046F6F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69E7A-DF67-822A-C2E0-52BF7B22F0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18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B8616E-1DA3-F601-369B-4DA4168669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1FB17D-5C7F-CF7A-16ED-6733842D5F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0F1375-D944-A63F-3D14-B2697CE4D3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8528D2-D023-8B8F-7621-F8B8923BC0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7024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0C4A5A-F4AA-2B04-6753-0E64B9F15D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AF46EF-293D-C3F7-56E2-9D99563A76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587B9A-54A1-D151-A4B2-D02EA3E7B6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F844CF-FA10-27E8-06B2-F3710B9BC5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40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4913B4-1C6F-25DC-18B1-AE44B2097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17F9B7-6D67-8828-3590-9517899437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B057C8-3A6C-331A-D2A1-22BA0240E5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0B45B1-3B53-9D88-14D2-D935F9D7AC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123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9684BA-86EF-1418-6B64-C7AF1CEA0E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03821A-422F-7A87-29BF-1B7C40B8EC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81A2BB-FD91-C18C-2216-097D19BEA7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E02ADC-EF69-7D63-800D-F14626821C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38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E17E70-9779-C8E5-8113-61E4C9DB2B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0AFBD6-9EE6-6292-4A74-390803339C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465E28-5E1B-3D66-8A05-EA0103B6C2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E808A2-DDD5-0EC4-434C-897E78D8E5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9284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56835D-309C-277B-19E9-7C82AF33F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F9C7BE-4714-9A4E-6638-678400F9F6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C8B8C5-FAC0-6691-843B-653C8AFBED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8BD1E0-F862-E90A-5BD3-6A4D10B94B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273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5AC478-931A-12F7-FFCE-82C4758A2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F8506D-D9D0-4BA0-C046-A8B376FB19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845BD6-7475-E949-8FA8-E19EE96D7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F584AB-D592-6CFE-9E73-107E75F07B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44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95D5C-9A64-C828-97FA-C26B2D3F0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8A32B6-BB3E-0DF1-5033-7F456A32FA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B2D8CE-5E4B-FF94-4E10-5CAC048E79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267D88-C0E9-49A3-424C-94E47207B2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830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E3DF31-3D76-2A33-6A2C-FB0A105A4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C71CA8-B659-A238-BF91-2B5082D852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22EDCA-8104-EB8C-1A81-66CC8D290F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3A3DBE-AD4B-5969-0DD7-B6623344A3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84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8AF37-C454-9356-73B7-3B40C9EEA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47CCFB-32EC-E75B-EC60-8E99C55BFC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E1F776-B13D-9F9C-02D4-EA9D60E6A4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E94C52-84CE-5633-F349-B08D84FE17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9770C-A7C4-455F-851F-4252981F6D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809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7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74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4.xml"/><Relationship Id="rId4" Type="http://schemas.openxmlformats.org/officeDocument/2006/relationships/image" Target="../media/image37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5.xml"/><Relationship Id="rId4" Type="http://schemas.openxmlformats.org/officeDocument/2006/relationships/image" Target="../media/image37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6.xml"/><Relationship Id="rId4" Type="http://schemas.openxmlformats.org/officeDocument/2006/relationships/image" Target="../media/image37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7.xml"/><Relationship Id="rId4" Type="http://schemas.openxmlformats.org/officeDocument/2006/relationships/image" Target="../media/image37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8.xml"/><Relationship Id="rId4" Type="http://schemas.openxmlformats.org/officeDocument/2006/relationships/image" Target="../media/image3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9.xml"/><Relationship Id="rId4" Type="http://schemas.openxmlformats.org/officeDocument/2006/relationships/image" Target="../media/image3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0.xml"/><Relationship Id="rId4" Type="http://schemas.openxmlformats.org/officeDocument/2006/relationships/image" Target="../media/image37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1.xml"/><Relationship Id="rId4" Type="http://schemas.openxmlformats.org/officeDocument/2006/relationships/image" Target="../media/image37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2.xml"/><Relationship Id="rId4" Type="http://schemas.openxmlformats.org/officeDocument/2006/relationships/image" Target="../media/image3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4.bin"/><Relationship Id="rId9" Type="http://schemas.microsoft.com/office/2007/relationships/hdphoto" Target="../media/hdphoto1.wdp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5.bin"/><Relationship Id="rId9" Type="http://schemas.microsoft.com/office/2007/relationships/hdphoto" Target="../media/hdphoto1.wdp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6.bin"/><Relationship Id="rId9" Type="http://schemas.microsoft.com/office/2007/relationships/hdphoto" Target="../media/hdphoto1.wdp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7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8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89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32.jpe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90.bin"/><Relationship Id="rId9" Type="http://schemas.microsoft.com/office/2007/relationships/hdphoto" Target="../media/hdphoto1.wdp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pn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41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1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2.bin"/><Relationship Id="rId9" Type="http://schemas.microsoft.com/office/2007/relationships/hdphoto" Target="../media/hdphoto1.wdp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png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45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4.bin"/><Relationship Id="rId9" Type="http://schemas.microsoft.com/office/2007/relationships/hdphoto" Target="../media/hdphoto1.wdp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47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5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6.bin"/><Relationship Id="rId9" Type="http://schemas.microsoft.com/office/2007/relationships/hdphoto" Target="../media/hdphoto1.wdp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49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7.bin"/></Relationships>
</file>

<file path=ppt/slideLayouts/_rels/slideLayout1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8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3.xml"/><Relationship Id="rId4" Type="http://schemas.openxmlformats.org/officeDocument/2006/relationships/image" Target="../media/image37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0.bin"/><Relationship Id="rId9" Type="http://schemas.microsoft.com/office/2007/relationships/hdphoto" Target="../media/hdphoto1.wdp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1.bin"/><Relationship Id="rId9" Type="http://schemas.microsoft.com/office/2007/relationships/hdphoto" Target="../media/hdphoto1.wdp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2.bin"/><Relationship Id="rId9" Type="http://schemas.microsoft.com/office/2007/relationships/hdphoto" Target="../media/hdphoto1.wdp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4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5.bin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32.jpe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06.bin"/><Relationship Id="rId9" Type="http://schemas.microsoft.com/office/2007/relationships/hdphoto" Target="../media/hdphoto1.wdp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41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7.bin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png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8.bin"/><Relationship Id="rId9" Type="http://schemas.microsoft.com/office/2007/relationships/hdphoto" Target="../media/hdphoto1.wdp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45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9.bin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0.bin"/><Relationship Id="rId9" Type="http://schemas.microsoft.com/office/2007/relationships/hdphoto" Target="../media/hdphoto1.wdp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47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1.bin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2.bin"/><Relationship Id="rId9" Type="http://schemas.microsoft.com/office/2007/relationships/hdphoto" Target="../media/hdphoto1.wdp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49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4.xml"/><Relationship Id="rId4" Type="http://schemas.openxmlformats.org/officeDocument/2006/relationships/image" Target="../media/image37.emf"/></Relationships>
</file>

<file path=ppt/slideLayouts/_rels/slideLayout14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34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16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7.bin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8.bin"/><Relationship Id="rId9" Type="http://schemas.microsoft.com/office/2007/relationships/hdphoto" Target="../media/hdphoto1.wdp"/></Relationships>
</file>

<file path=ppt/slideLayouts/_rels/slideLayout1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1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3.xml"/><Relationship Id="rId4" Type="http://schemas.openxmlformats.org/officeDocument/2006/relationships/image" Target="../media/image37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4.xml"/><Relationship Id="rId4" Type="http://schemas.openxmlformats.org/officeDocument/2006/relationships/image" Target="../media/image37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2.bin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3.bin"/><Relationship Id="rId9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1.xml"/><Relationship Id="rId4" Type="http://schemas.openxmlformats.org/officeDocument/2006/relationships/image" Target="../media/image37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2.xml"/><Relationship Id="rId4" Type="http://schemas.openxmlformats.org/officeDocument/2006/relationships/image" Target="../media/image37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3.xml"/><Relationship Id="rId5" Type="http://schemas.openxmlformats.org/officeDocument/2006/relationships/image" Target="../media/image27.png"/><Relationship Id="rId4" Type="http://schemas.openxmlformats.org/officeDocument/2006/relationships/image" Target="../media/image28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4.xml"/><Relationship Id="rId4" Type="http://schemas.openxmlformats.org/officeDocument/2006/relationships/image" Target="../media/image37.emf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77.xml"/><Relationship Id="rId7" Type="http://schemas.openxmlformats.org/officeDocument/2006/relationships/image" Target="../media/image32.jpe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0.bin"/></Relationships>
</file>

<file path=ppt/slideLayouts/_rels/slideLayout15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1.bin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2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6.xml"/><Relationship Id="rId4" Type="http://schemas.openxmlformats.org/officeDocument/2006/relationships/image" Target="../media/image26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7.xml"/><Relationship Id="rId4" Type="http://schemas.openxmlformats.org/officeDocument/2006/relationships/image" Target="../media/image26.emf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6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7.bin"/><Relationship Id="rId9" Type="http://schemas.microsoft.com/office/2007/relationships/hdphoto" Target="../media/hdphoto1.wdp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2.xml"/><Relationship Id="rId4" Type="http://schemas.openxmlformats.org/officeDocument/2006/relationships/image" Target="../media/image37.emf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95.xml"/><Relationship Id="rId7" Type="http://schemas.openxmlformats.org/officeDocument/2006/relationships/image" Target="../media/image32.jpe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6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0.bin"/></Relationships>
</file>

<file path=ppt/slideLayouts/_rels/slideLayout1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1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2.bin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304.xml"/><Relationship Id="rId7" Type="http://schemas.openxmlformats.org/officeDocument/2006/relationships/image" Target="../media/image32.jpeg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4.bin"/></Relationships>
</file>

<file path=ppt/slideLayouts/_rels/slideLayout17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5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6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7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3.xml"/><Relationship Id="rId4" Type="http://schemas.openxmlformats.org/officeDocument/2006/relationships/image" Target="../media/image26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4.xml"/><Relationship Id="rId4" Type="http://schemas.openxmlformats.org/officeDocument/2006/relationships/image" Target="../media/image26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5.xml"/><Relationship Id="rId4" Type="http://schemas.openxmlformats.org/officeDocument/2006/relationships/image" Target="../media/image26.emf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1.bin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2.bin"/><Relationship Id="rId9" Type="http://schemas.microsoft.com/office/2007/relationships/hdphoto" Target="../media/hdphoto1.wdp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image" Target="../media/image32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4.bin"/><Relationship Id="rId9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7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30.emf"/><Relationship Id="rId4" Type="http://schemas.openxmlformats.org/officeDocument/2006/relationships/tags" Target="../tags/tag8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3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3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32.jpeg"/><Relationship Id="rId4" Type="http://schemas.openxmlformats.org/officeDocument/2006/relationships/tags" Target="../tags/tag27.xml"/><Relationship Id="rId9" Type="http://schemas.openxmlformats.org/officeDocument/2006/relationships/image" Target="../media/image3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3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33.jpeg"/><Relationship Id="rId5" Type="http://schemas.openxmlformats.org/officeDocument/2006/relationships/tags" Target="../tags/tag34.xml"/><Relationship Id="rId10" Type="http://schemas.openxmlformats.org/officeDocument/2006/relationships/image" Target="../media/image3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2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image" Target="../media/image30.emf"/><Relationship Id="rId5" Type="http://schemas.openxmlformats.org/officeDocument/2006/relationships/tags" Target="../tags/tag4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2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30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27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30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27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35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64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2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image" Target="../media/image30.emf"/><Relationship Id="rId5" Type="http://schemas.openxmlformats.org/officeDocument/2006/relationships/tags" Target="../tags/tag73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72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7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10" Type="http://schemas.openxmlformats.org/officeDocument/2006/relationships/image" Target="../media/image27.png"/><Relationship Id="rId4" Type="http://schemas.openxmlformats.org/officeDocument/2006/relationships/tags" Target="../tags/tag80.xml"/><Relationship Id="rId9" Type="http://schemas.openxmlformats.org/officeDocument/2006/relationships/image" Target="../media/image3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85.xml"/><Relationship Id="rId7" Type="http://schemas.openxmlformats.org/officeDocument/2006/relationships/image" Target="../media/image31.emf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3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4" Type="http://schemas.openxmlformats.org/officeDocument/2006/relationships/image" Target="../media/image3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4" Type="http://schemas.openxmlformats.org/officeDocument/2006/relationships/image" Target="../media/image3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3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3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37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4" Type="http://schemas.openxmlformats.org/officeDocument/2006/relationships/image" Target="../media/image37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3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3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4" Type="http://schemas.openxmlformats.org/officeDocument/2006/relationships/image" Target="../media/image37.emf"/></Relationships>
</file>

<file path=ppt/slideLayouts/_rels/slideLayout5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4" Type="http://schemas.openxmlformats.org/officeDocument/2006/relationships/image" Target="../media/image37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4" Type="http://schemas.openxmlformats.org/officeDocument/2006/relationships/image" Target="../media/image37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37.emf"/></Relationships>
</file>

<file path=ppt/slideLayouts/_rels/slideLayout5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9.bin"/></Relationships>
</file>

<file path=ppt/slideLayouts/_rels/slideLayout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0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1.bin"/><Relationship Id="rId9" Type="http://schemas.microsoft.com/office/2007/relationships/hdphoto" Target="../media/hdphoto1.wdp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2.bin"/><Relationship Id="rId9" Type="http://schemas.microsoft.com/office/2007/relationships/hdphoto" Target="../media/hdphoto1.wdp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4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5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6.bin"/><Relationship Id="rId9" Type="http://schemas.microsoft.com/office/2007/relationships/hdphoto" Target="../media/hdphoto1.wdp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41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7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pn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32.jpe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8.bin"/><Relationship Id="rId9" Type="http://schemas.microsoft.com/office/2007/relationships/hdphoto" Target="../media/hdphoto1.wdp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45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9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0.bin"/><Relationship Id="rId9" Type="http://schemas.microsoft.com/office/2007/relationships/hdphoto" Target="../media/hdphoto1.wdp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47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1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2.bin"/><Relationship Id="rId9" Type="http://schemas.microsoft.com/office/2007/relationships/hdphoto" Target="../media/hdphoto1.wdp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49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4.xml"/><Relationship Id="rId4" Type="http://schemas.openxmlformats.org/officeDocument/2006/relationships/image" Target="../media/image37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6.bin"/><Relationship Id="rId9" Type="http://schemas.microsoft.com/office/2007/relationships/hdphoto" Target="../media/hdphoto1.wdp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7.bin"/><Relationship Id="rId9" Type="http://schemas.microsoft.com/office/2007/relationships/hdphoto" Target="../media/hdphoto1.wdp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8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49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0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1.bin"/><Relationship Id="rId9" Type="http://schemas.microsoft.com/office/2007/relationships/hdphoto" Target="../media/hdphoto1.wdp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41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2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32.jpe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53.bin"/><Relationship Id="rId9" Type="http://schemas.microsoft.com/office/2007/relationships/hdphoto" Target="../media/hdphoto1.wdp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45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4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5.bin"/><Relationship Id="rId9" Type="http://schemas.microsoft.com/office/2007/relationships/hdphoto" Target="../media/hdphoto1.wdp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47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6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7.bin"/><Relationship Id="rId9" Type="http://schemas.microsoft.com/office/2007/relationships/hdphoto" Target="../media/hdphoto1.wdp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49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8.bin"/></Relationships>
</file>

<file path=ppt/slideLayouts/_rels/slideLayout8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5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3.xml"/><Relationship Id="rId4" Type="http://schemas.openxmlformats.org/officeDocument/2006/relationships/image" Target="../media/image37.emf"/></Relationships>
</file>

<file path=ppt/slideLayouts/_rels/slideLayout8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34.pn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6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8.xml"/><Relationship Id="rId4" Type="http://schemas.openxmlformats.org/officeDocument/2006/relationships/image" Target="../media/image3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1.xml"/><Relationship Id="rId4" Type="http://schemas.openxmlformats.org/officeDocument/2006/relationships/image" Target="../media/image37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4.xml"/><Relationship Id="rId4" Type="http://schemas.openxmlformats.org/officeDocument/2006/relationships/image" Target="../media/image37.emf"/></Relationships>
</file>

<file path=ppt/slideLayouts/_rels/slideLayout9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8.png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image" Target="../media/image32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8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7.xml"/><Relationship Id="rId4" Type="http://schemas.openxmlformats.org/officeDocument/2006/relationships/image" Target="../media/image3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8.xml"/><Relationship Id="rId5" Type="http://schemas.openxmlformats.org/officeDocument/2006/relationships/image" Target="../media/image27.png"/><Relationship Id="rId4" Type="http://schemas.openxmlformats.org/officeDocument/2006/relationships/image" Target="../media/image28.emf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oleObject" Target="../embeddings/oleObject71.bin"/><Relationship Id="rId7" Type="http://schemas.openxmlformats.org/officeDocument/2006/relationships/image" Target="../media/image5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9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28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0.xml"/><Relationship Id="rId4" Type="http://schemas.openxmlformats.org/officeDocument/2006/relationships/image" Target="../media/image37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1.xml"/><Relationship Id="rId4" Type="http://schemas.openxmlformats.org/officeDocument/2006/relationships/image" Target="../media/image3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>
            <a:extLst>
              <a:ext uri="{FF2B5EF4-FFF2-40B4-BE49-F238E27FC236}">
                <a16:creationId xmlns:a16="http://schemas.microsoft.com/office/drawing/2014/main" id="{E6A314DD-C0D2-04ED-EFCE-100D0B714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6E4AAB14-FDD1-7647-F01B-C15C1241C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AA3D7C3C-D4A4-0FE9-F6DA-AF6939F26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77A3B920-7145-A4FA-CFA1-D75F377131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E9A5AD7-4BB8-281A-6C14-B84B96BEF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6C947B8-5246-F743-DA2C-67B4343D7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058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O guid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>
            <a:extLst>
              <a:ext uri="{FF2B5EF4-FFF2-40B4-BE49-F238E27FC236}">
                <a16:creationId xmlns:a16="http://schemas.microsoft.com/office/drawing/2014/main" id="{CD8AFED8-1141-6C0F-3ED2-32CC69B91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475" y="83228"/>
            <a:ext cx="11696761" cy="54353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/>
            </a:lvl1pPr>
          </a:lstStyle>
          <a:p>
            <a:r>
              <a:rPr lang="en-US"/>
              <a:t>Recommendation title</a:t>
            </a:r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5B6C0B-FF9E-EFBE-3775-C73EF504D615}"/>
              </a:ext>
            </a:extLst>
          </p:cNvPr>
          <p:cNvSpPr txBox="1"/>
          <p:nvPr userDrawn="1"/>
        </p:nvSpPr>
        <p:spPr>
          <a:xfrm>
            <a:off x="1" y="2281283"/>
            <a:ext cx="1265382" cy="299184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Link to original guidelin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C49AA3C-97F4-3CB4-1040-C3C22A11CA8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65383" y="2281283"/>
            <a:ext cx="4690496" cy="34745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F9C224-6B81-B572-64BF-851BD8A68CEE}"/>
              </a:ext>
            </a:extLst>
          </p:cNvPr>
          <p:cNvSpPr txBox="1"/>
          <p:nvPr userDrawn="1"/>
        </p:nvSpPr>
        <p:spPr>
          <a:xfrm>
            <a:off x="0" y="2779700"/>
            <a:ext cx="1265382" cy="299184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Excerpt from  original guidelin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A3FC4FF-CFE0-3EB3-90BA-A5E9F49B83DA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1265381" y="2779700"/>
            <a:ext cx="9504231" cy="15784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236AD9-0A57-DB6B-9C98-EDEAA15B0718}"/>
              </a:ext>
            </a:extLst>
          </p:cNvPr>
          <p:cNvSpPr txBox="1"/>
          <p:nvPr userDrawn="1"/>
        </p:nvSpPr>
        <p:spPr>
          <a:xfrm>
            <a:off x="0" y="735773"/>
            <a:ext cx="1265382" cy="29918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PALM007 intervention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B09B54F-ECBE-A4C1-A39D-62E5C4FE4B1D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265382" y="735773"/>
            <a:ext cx="10663854" cy="8925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F84F731-3C9D-7808-F4D0-CFB0799251EB}"/>
              </a:ext>
            </a:extLst>
          </p:cNvPr>
          <p:cNvSpPr txBox="1"/>
          <p:nvPr userDrawn="1"/>
        </p:nvSpPr>
        <p:spPr>
          <a:xfrm>
            <a:off x="7039311" y="2287137"/>
            <a:ext cx="615651" cy="369331"/>
          </a:xfrm>
          <a:prstGeom prst="rect">
            <a:avLst/>
          </a:prstGeom>
          <a:noFill/>
        </p:spPr>
        <p:txBody>
          <a:bodyPr wrap="square" lIns="0" tIns="0" rIns="72000" bIns="0" rtlCol="0">
            <a:no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GRADE based?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AF45EA2-1440-BD48-52E9-53E9BC7D182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629478" y="2289098"/>
            <a:ext cx="724926" cy="3459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Yes/N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9F294-1D07-CB63-F3AA-A4FFA7978E31}"/>
              </a:ext>
            </a:extLst>
          </p:cNvPr>
          <p:cNvSpPr txBox="1"/>
          <p:nvPr userDrawn="1"/>
        </p:nvSpPr>
        <p:spPr>
          <a:xfrm>
            <a:off x="476" y="4599673"/>
            <a:ext cx="1265382" cy="299184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Initial notes from methods team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B5DB028-A364-B1D6-852B-8E606DA6280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265857" y="4599673"/>
            <a:ext cx="9531451" cy="691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D09F19F-ED49-59C1-5407-178F9FD13C95}"/>
              </a:ext>
            </a:extLst>
          </p:cNvPr>
          <p:cNvSpPr txBox="1"/>
          <p:nvPr userDrawn="1"/>
        </p:nvSpPr>
        <p:spPr>
          <a:xfrm>
            <a:off x="5965302" y="2304358"/>
            <a:ext cx="455475" cy="345961"/>
          </a:xfrm>
          <a:prstGeom prst="rect">
            <a:avLst/>
          </a:prstGeom>
          <a:noFill/>
        </p:spPr>
        <p:txBody>
          <a:bodyPr wrap="square" lIns="0" tIns="0" rIns="72000" bIns="0" rtlCol="0">
            <a:noAutofit/>
          </a:bodyPr>
          <a:lstStyle/>
          <a:p>
            <a:pPr algn="r"/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Year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54B6A08-115F-B3C1-4767-9EBFD77B2FA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402671" y="2281283"/>
            <a:ext cx="636641" cy="3459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20X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52EC516-6ACA-81CC-3FEE-FE630DBB4EA0}"/>
              </a:ext>
            </a:extLst>
          </p:cNvPr>
          <p:cNvSpPr txBox="1"/>
          <p:nvPr userDrawn="1"/>
        </p:nvSpPr>
        <p:spPr>
          <a:xfrm>
            <a:off x="8372819" y="2287137"/>
            <a:ext cx="724926" cy="369331"/>
          </a:xfrm>
          <a:prstGeom prst="rect">
            <a:avLst/>
          </a:prstGeom>
          <a:noFill/>
        </p:spPr>
        <p:txBody>
          <a:bodyPr wrap="square" lIns="0" tIns="0" rIns="72000" bIns="0" rtlCol="0">
            <a:no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Evidence certainty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484D5C0-0C18-7562-71BE-EB3ECADBCEC4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9097746" y="2288433"/>
            <a:ext cx="883096" cy="3459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Hig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504AC51-AD5B-5332-6189-4621DA94DA56}"/>
              </a:ext>
            </a:extLst>
          </p:cNvPr>
          <p:cNvSpPr txBox="1"/>
          <p:nvPr userDrawn="1"/>
        </p:nvSpPr>
        <p:spPr>
          <a:xfrm>
            <a:off x="10922614" y="4579842"/>
            <a:ext cx="1006622" cy="369331"/>
          </a:xfrm>
          <a:prstGeom prst="rect">
            <a:avLst/>
          </a:prstGeom>
          <a:noFill/>
        </p:spPr>
        <p:txBody>
          <a:bodyPr wrap="square" lIns="72000" tIns="0" rIns="7200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Additional indirectness?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87079070-4B27-8600-6A5C-96D9CA5B5924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10922612" y="4890053"/>
            <a:ext cx="1006623" cy="4015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Minim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DAC29A2-BC8F-83D6-9555-B1A49CD70576}"/>
              </a:ext>
            </a:extLst>
          </p:cNvPr>
          <p:cNvCxnSpPr/>
          <p:nvPr userDrawn="1"/>
        </p:nvCxnSpPr>
        <p:spPr>
          <a:xfrm>
            <a:off x="195531" y="1709627"/>
            <a:ext cx="1183945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C5B06DE-768B-901A-E7F2-3FE5A46283FA}"/>
              </a:ext>
            </a:extLst>
          </p:cNvPr>
          <p:cNvSpPr txBox="1"/>
          <p:nvPr userDrawn="1"/>
        </p:nvSpPr>
        <p:spPr>
          <a:xfrm>
            <a:off x="1" y="1817736"/>
            <a:ext cx="1265382" cy="151452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WHO guideli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41E187-BBCF-F77A-A845-C920E09D094F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265382" y="1817736"/>
            <a:ext cx="5361661" cy="34745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70FC9D-D5AA-7F43-BAE2-C48900A26292}"/>
              </a:ext>
            </a:extLst>
          </p:cNvPr>
          <p:cNvSpPr txBox="1"/>
          <p:nvPr userDrawn="1"/>
        </p:nvSpPr>
        <p:spPr>
          <a:xfrm>
            <a:off x="6655320" y="1822388"/>
            <a:ext cx="1090859" cy="299184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WHO guideline populatio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7E6BBC5-EEF3-8124-54CF-57248FE8F85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746179" y="1822388"/>
            <a:ext cx="4183056" cy="34745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6461721-64CB-3F97-8FF1-998E2E4C36F7}"/>
              </a:ext>
            </a:extLst>
          </p:cNvPr>
          <p:cNvCxnSpPr/>
          <p:nvPr userDrawn="1"/>
        </p:nvCxnSpPr>
        <p:spPr>
          <a:xfrm>
            <a:off x="176274" y="4478916"/>
            <a:ext cx="1183945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FF730EC-06EC-04BA-1B52-F968D06E24C8}"/>
              </a:ext>
            </a:extLst>
          </p:cNvPr>
          <p:cNvSpPr txBox="1"/>
          <p:nvPr userDrawn="1"/>
        </p:nvSpPr>
        <p:spPr>
          <a:xfrm>
            <a:off x="476" y="5412350"/>
            <a:ext cx="1265382" cy="299184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Additional notes from expert group 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FE696D0-6410-24BD-72C1-EBCD2F89DB23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1265857" y="5412350"/>
            <a:ext cx="8864105" cy="691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4F8A669-BB4C-EBA7-E9A9-BC8C32616686}"/>
              </a:ext>
            </a:extLst>
          </p:cNvPr>
          <p:cNvSpPr txBox="1"/>
          <p:nvPr userDrawn="1"/>
        </p:nvSpPr>
        <p:spPr>
          <a:xfrm>
            <a:off x="0" y="6232940"/>
            <a:ext cx="1265382" cy="151452"/>
          </a:xfrm>
          <a:prstGeom prst="rect">
            <a:avLst/>
          </a:prstGeom>
          <a:noFill/>
        </p:spPr>
        <p:txBody>
          <a:bodyPr wrap="square" lIns="0" tIns="0" rIns="7200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Decision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27FB4EB-3D42-5313-6439-13BA051643CF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1265381" y="6232941"/>
            <a:ext cx="8864105" cy="299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6955AF-B4A4-3D9C-3211-C7B6CA81C679}"/>
              </a:ext>
            </a:extLst>
          </p:cNvPr>
          <p:cNvSpPr txBox="1"/>
          <p:nvPr userDrawn="1"/>
        </p:nvSpPr>
        <p:spPr>
          <a:xfrm>
            <a:off x="9980842" y="2279987"/>
            <a:ext cx="788770" cy="369331"/>
          </a:xfrm>
          <a:prstGeom prst="rect">
            <a:avLst/>
          </a:prstGeom>
          <a:noFill/>
        </p:spPr>
        <p:txBody>
          <a:bodyPr wrap="square" lIns="0" tIns="0" rIns="72000" bIns="0" rtlCol="0">
            <a:noAutofit/>
          </a:bodyPr>
          <a:lstStyle/>
          <a:p>
            <a:pPr algn="r">
              <a:lnSpc>
                <a:spcPct val="80000"/>
              </a:lnSpc>
            </a:pPr>
            <a:r>
              <a:rPr lang="en-GB" sz="1200" i="1">
                <a:solidFill>
                  <a:schemeClr val="bg1">
                    <a:lumMod val="50000"/>
                  </a:schemeClr>
                </a:solidFill>
              </a:rPr>
              <a:t>Strength of </a:t>
            </a:r>
            <a:r>
              <a:rPr lang="en-GB" sz="1200" i="1" err="1">
                <a:solidFill>
                  <a:schemeClr val="bg1">
                    <a:lumMod val="50000"/>
                  </a:schemeClr>
                </a:solidFill>
              </a:rPr>
              <a:t>recomm</a:t>
            </a:r>
            <a:endParaRPr lang="en-GB" sz="1200" i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98369B33-4B61-EA6E-6F2C-1E602140C22F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10769612" y="2281283"/>
            <a:ext cx="1159623" cy="3459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Hig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AA5C43-5073-AAB0-6187-66E88AAEC384}"/>
              </a:ext>
            </a:extLst>
          </p:cNvPr>
          <p:cNvSpPr txBox="1"/>
          <p:nvPr userDrawn="1"/>
        </p:nvSpPr>
        <p:spPr>
          <a:xfrm>
            <a:off x="10449999" y="5354704"/>
            <a:ext cx="1648200" cy="1402554"/>
          </a:xfrm>
          <a:prstGeom prst="roundRect">
            <a:avLst>
              <a:gd name="adj" fmla="val 11237"/>
            </a:avLst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GB" sz="1600" b="1">
                <a:solidFill>
                  <a:srgbClr val="FF0000"/>
                </a:solidFill>
              </a:rPr>
              <a:t>Please consider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b="1">
                <a:solidFill>
                  <a:srgbClr val="FF0000"/>
                </a:solidFill>
              </a:rPr>
              <a:t>Resourc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b="1">
                <a:solidFill>
                  <a:srgbClr val="FF0000"/>
                </a:solidFill>
              </a:rPr>
              <a:t>Equi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b="1">
                <a:solidFill>
                  <a:srgbClr val="FF0000"/>
                </a:solidFill>
              </a:rPr>
              <a:t>Acceptabili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600" b="1">
                <a:solidFill>
                  <a:srgbClr val="FF0000"/>
                </a:solidFill>
              </a:rPr>
              <a:t>Feasibility</a:t>
            </a:r>
          </a:p>
        </p:txBody>
      </p:sp>
    </p:spTree>
    <p:extLst>
      <p:ext uri="{BB962C8B-B14F-4D97-AF65-F5344CB8AC3E}">
        <p14:creationId xmlns:p14="http://schemas.microsoft.com/office/powerpoint/2010/main" val="25070882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478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A532677-E65B-4566-93A2-AD647FA001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5557" y="6186486"/>
            <a:ext cx="8281260" cy="215444"/>
          </a:xfrm>
        </p:spPr>
        <p:txBody>
          <a:bodyPr/>
          <a:lstStyle>
            <a:lvl1pPr algn="r">
              <a:defRPr sz="1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43">
            <a:extLst>
              <a:ext uri="{FF2B5EF4-FFF2-40B4-BE49-F238E27FC236}">
                <a16:creationId xmlns:a16="http://schemas.microsoft.com/office/drawing/2014/main" id="{C3FD8990-F0E7-4DC9-B259-650EBB63BC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15557" y="5754522"/>
            <a:ext cx="8281260" cy="307777"/>
          </a:xfrm>
        </p:spPr>
        <p:txBody>
          <a:bodyPr/>
          <a:lstStyle>
            <a:lvl1pPr algn="r">
              <a:defRPr sz="2000">
                <a:solidFill>
                  <a:srgbClr val="31859C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id="{7A04607A-1F02-4FB2-A4A0-2D972895B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5557" y="5020935"/>
            <a:ext cx="8281260" cy="609398"/>
          </a:xfrm>
        </p:spPr>
        <p:txBody>
          <a:bodyPr vert="horz" anchor="b" anchorCtr="0">
            <a:noAutofit/>
          </a:bodyPr>
          <a:lstStyle>
            <a:lvl1pPr algn="r"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37CEC2-F9C0-431A-9F8F-8501AC8EE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2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88EF980E-8948-4B44-B22F-EDDB4CDF10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848270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40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4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4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29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9" y="2085628"/>
            <a:ext cx="11082528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4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144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91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8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3759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30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4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4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108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9" y="2085628"/>
            <a:ext cx="11082528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4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3881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91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8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824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1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7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61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C42547-B1CE-A2AE-DA17-E33ED47E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262" y="1259584"/>
            <a:ext cx="5458313" cy="64872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32FA55-5F90-A0C7-133B-AF4A8CA2B9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262" y="1987827"/>
            <a:ext cx="5458313" cy="39279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EF5D8F-D9F1-7B4F-A2B8-20942DEF09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27085" y="1259584"/>
            <a:ext cx="5485194" cy="64872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705CC2-BF2D-57AA-8BFB-3A6EA79F97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27085" y="1987827"/>
            <a:ext cx="5485194" cy="39279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D0BFEB5-6033-D415-9CE7-932AFEF31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964349-3AF8-B72C-7BD5-23CBA4755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4C8F5A-9152-F4FB-6BF9-1A7E86618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75557AC0-F2E8-218E-DC15-05F23646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0B176E2-0559-0314-0723-DB37C9812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3345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82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427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2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524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90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583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60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88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05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58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74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7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56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3034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400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5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5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24" y="1310"/>
            <a:ext cx="4088312" cy="6856690"/>
          </a:xfrm>
          <a:custGeom>
            <a:avLst/>
            <a:gdLst>
              <a:gd name="connsiteX0" fmla="*/ 0 w 4088312"/>
              <a:gd name="connsiteY0" fmla="*/ 0 h 6856690"/>
              <a:gd name="connsiteX1" fmla="*/ 3264933 w 4088312"/>
              <a:gd name="connsiteY1" fmla="*/ 0 h 6856690"/>
              <a:gd name="connsiteX2" fmla="*/ 4088312 w 4088312"/>
              <a:gd name="connsiteY2" fmla="*/ 3429000 h 6856690"/>
              <a:gd name="connsiteX3" fmla="*/ 3265248 w 4088312"/>
              <a:gd name="connsiteY3" fmla="*/ 6856690 h 6856690"/>
              <a:gd name="connsiteX4" fmla="*/ 0 w 4088312"/>
              <a:gd name="connsiteY4" fmla="*/ 6856690 h 685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669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5248" y="6856690"/>
                </a:lnTo>
                <a:lnTo>
                  <a:pt x="0" y="6856690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939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9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327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66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905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E8CFC5-4EB8-937E-D8F6-798806AF4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E4CD02-E17A-5F70-CC9C-C6FC8B6F3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287FED-9113-119F-0464-911DC2947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0995CF8-7674-E829-4233-63ED89BCF2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5125FFC-51ED-B196-3701-796D02863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2FA36E6-D154-3DEE-4C0D-EB125F6241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1926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5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513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72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00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93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891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96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2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0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82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5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27651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82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11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2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799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90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961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60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43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DFA0C4C-0082-94E8-32F5-B2BC4E5323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6911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05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7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74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7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774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3034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400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5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24" y="1310"/>
            <a:ext cx="4088312" cy="6856690"/>
          </a:xfrm>
          <a:custGeom>
            <a:avLst/>
            <a:gdLst>
              <a:gd name="connsiteX0" fmla="*/ 0 w 4088312"/>
              <a:gd name="connsiteY0" fmla="*/ 0 h 6856690"/>
              <a:gd name="connsiteX1" fmla="*/ 3264933 w 4088312"/>
              <a:gd name="connsiteY1" fmla="*/ 0 h 6856690"/>
              <a:gd name="connsiteX2" fmla="*/ 4088312 w 4088312"/>
              <a:gd name="connsiteY2" fmla="*/ 3429000 h 6856690"/>
              <a:gd name="connsiteX3" fmla="*/ 3265248 w 4088312"/>
              <a:gd name="connsiteY3" fmla="*/ 6856690 h 6856690"/>
              <a:gd name="connsiteX4" fmla="*/ 0 w 4088312"/>
              <a:gd name="connsiteY4" fmla="*/ 6856690 h 685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669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5248" y="6856690"/>
                </a:lnTo>
                <a:lnTo>
                  <a:pt x="0" y="6856690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805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9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964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66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6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5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465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72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34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93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897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96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87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9CA25C-A3F0-AA2E-29BE-436607C9C2D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82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48115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0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77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5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2222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81007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043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49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09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9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9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96625"/>
            <a:ext cx="2819400" cy="17243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2110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07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434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538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1509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592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1910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09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077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9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96625"/>
            <a:ext cx="2819400" cy="17243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573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07DA5-6B45-921B-37E8-3E3D5FE3A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D9FF3-5749-36A5-7C2B-7B7A9EAF96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7147C8-F6B8-C8AF-081F-4235B41FF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68614C-0EDB-E2CA-FA9C-AF36E0DEBC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1C5F29-7748-1F26-795A-75B64C17A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2C9EC2-3065-63A8-4209-A57C37F65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15478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07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90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538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52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592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64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467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245D5B-A391-4060-B58C-E17D1C2FC06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2895600" y="2269674"/>
            <a:ext cx="6492240" cy="231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48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7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199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0782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1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7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43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4257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44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2424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002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51271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1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375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4524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70C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1" y="907196"/>
            <a:ext cx="3448800" cy="34472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7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4957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A8520-C945-7A9F-6E0A-6B3FCF76D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57F50EB-9B97-88C4-33B7-94C14ECC35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B8FFCD-23A6-DFE1-8AFA-F48DC14740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D69DCD-DAFD-C119-FDE6-C30F55E01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35C8D7-1A70-CAA6-4256-6B9F6FBA8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BB732C-09D6-5C4C-8EFD-CE3E7810D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30714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385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259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685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874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23610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1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64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6995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96625"/>
            <a:ext cx="2819400" cy="17243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3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7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314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8267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1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7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40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5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61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3660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616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228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1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8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34906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1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7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23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3E6DBF-BB8F-6B07-8EB8-C3A0EB1037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ABDA93-2A04-9BA4-4582-ADAD741C2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B142E6-17AF-B62F-36AB-B7FE414B7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9BF4F5-0297-5205-761A-306764CB3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633FB5A-EA8B-B41E-783D-B03870475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126846"/>
            <a:ext cx="11763213" cy="8492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09175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07592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40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72542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88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9353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1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61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4524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70C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1" y="907196"/>
            <a:ext cx="3448800" cy="34472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7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0324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282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97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6752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44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6856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83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1562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1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4328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41897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96625"/>
            <a:ext cx="2819400" cy="17243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245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6805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1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49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BF53B8-00CB-71CE-3563-27E77EF306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5B47E5-620B-37AE-F3E0-5F1819FF49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04077-9E04-A50D-E87F-8B3A3A4CB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7B602C-131E-C356-0A3A-5A9A878FA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69110-EF52-F51D-72BF-783904EAA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01494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47885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96625"/>
            <a:ext cx="2819400" cy="17243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162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da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">
            <a:extLst>
              <a:ext uri="{FF2B5EF4-FFF2-40B4-BE49-F238E27FC236}">
                <a16:creationId xmlns:a16="http://schemas.microsoft.com/office/drawing/2014/main" id="{174C451E-C721-F360-7610-87D9E46AE3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E6A314DD-C0D2-04ED-EFCE-100D0B714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t>30/10/2025</a:t>
            </a:fld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6E4AAB14-FDD1-7647-F01B-C15C1241C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AA3D7C3C-D4A4-0FE9-F6DA-AF6939F26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646C774-1D3E-375F-CA2F-3D461D404A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9" name="Icon">
            <a:extLst>
              <a:ext uri="{FF2B5EF4-FFF2-40B4-BE49-F238E27FC236}">
                <a16:creationId xmlns:a16="http://schemas.microsoft.com/office/drawing/2014/main" id="{CD165EFD-B819-EE6B-7FD4-2D0722A38674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08022" y="179513"/>
            <a:ext cx="807940" cy="720810"/>
          </a:xfrm>
          <a:prstGeom prst="rect">
            <a:avLst/>
          </a:prstGeom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587AF06D-EEAC-B1A7-226A-DC4CA14F0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496446-8735-6E7A-AB15-CBE9FC16C5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68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77A3B920-7145-A4FA-CFA1-D75F377131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E9A5AD7-4BB8-281A-6C14-B84B96BEF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6C947B8-5246-F743-DA2C-67B4343D7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24D9CE9-FD57-5400-8E2B-1CEDEE409140}"/>
              </a:ext>
            </a:extLst>
          </p:cNvPr>
          <p:cNvSpPr/>
          <p:nvPr userDrawn="1"/>
        </p:nvSpPr>
        <p:spPr>
          <a:xfrm>
            <a:off x="0" y="6028841"/>
            <a:ext cx="12192000" cy="829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3279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kpi_oxyg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ED67C19-2AE5-4C73-84F9-DE0C281DB0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48202" y="169173"/>
            <a:ext cx="828675" cy="828675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CBDCDEE-3935-567E-59B9-8635DDBF1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2CB34-08EB-4DE0-B45F-42F82E7448FB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98557B-7A7A-5056-F18E-80416EBB90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D2AED02-89FC-C9AD-A9E1-2C36255F0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075ED-ADFB-454C-AE70-613C55D89518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AA57CB6-01C5-B81A-2561-14EC6B0BEB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99F36761-4977-0FE7-035A-2758733BF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B101D6A-83E2-B3E4-5E83-24FB248E36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802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guidan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87BBADF-52E5-C542-3F7C-69F56E3796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5681" y="211802"/>
            <a:ext cx="783654" cy="720962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1CBB8E1-1B3F-B5A6-B541-7B82E25E2C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4E7F42F0-53F9-A657-2856-353D92871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5B3C192-40D4-2608-4BE8-0CF4A3351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A4D42B0-6EFD-3580-3251-80D21170B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7D6E54D-B5DE-8B95-66C7-4609739CC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E8C479C-B4E6-1ABC-0858-684327F8AD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8564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tool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E0E6342-883C-8BA3-D62B-5FA436C899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7503" y="227092"/>
            <a:ext cx="775519" cy="550836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EA62BD6-8A7C-CF79-AB90-83B00B19F9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7944E1F-DC79-EBE1-008D-493D913AE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FDD1289-F531-236A-3B57-507B933FB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E1729A3-9559-DE92-7628-61B3CC015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84F9300B-F03A-961C-C24F-EBB1AD26D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8D60450-39CE-5925-BBE2-118BEFE182C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9778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tech_assistan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4F4B10C-93DB-C930-9E92-DFE30E72F2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44365" y="206871"/>
            <a:ext cx="801578" cy="61211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0520580-B1B2-3ED9-6660-D76B7EA692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A3AD577A-09BE-73BA-824B-978A9D93C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6A7D464-DDA5-541D-68EE-3DCFFA62D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DCD3624-AC03-BB32-8F82-C9A5BC843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AE0CF110-D03A-C2CB-809D-3E494A605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34ACBE7-982E-C25D-C10E-B61333A0FF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693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raising_standar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9F1D7D7-BB83-349C-E6EF-09E8DDE4D0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52312" y="350499"/>
            <a:ext cx="801116" cy="485291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D0D183F-AB1E-A6EE-2B34-D7506DC92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EFA62D61-80B6-C738-BB2D-B5E3C4318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2771BAE-6A75-9803-67D3-C36FE2BE1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C82DF76-1DE3-E132-E7CE-053D01FB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42EECF85-D28E-CEBD-C153-E5C452D6C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8249332-2009-177D-0F1A-B08E787995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2745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etwo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B752317C-29A5-78F5-3B44-DEEB42EDF4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5661" y="81846"/>
            <a:ext cx="1127572" cy="983628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81949FD-B6C5-1D9C-4909-E140208529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92070" y="258896"/>
            <a:ext cx="727510" cy="702987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0F91437-A969-6B7D-CE3F-1CAA943E1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1172092" cy="437751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33FA67A-5D4C-388B-81BC-5C4F8EBC6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CF7A204-EF71-07D3-D7BC-F59141CDE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991A9E9-E711-D40A-A8CB-D94CE95C5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870FFC43-57EC-24AF-F5E8-A3C0E66AB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6835FC-2BB1-1BEA-5A81-ED2ED04FBF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995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539262" y="1463040"/>
            <a:ext cx="11272366" cy="441297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  <a:lvl3pPr marL="1257300" indent="-342900">
              <a:buFont typeface="Lucida Grande"/>
              <a:buChar char="–"/>
              <a:defRPr/>
            </a:lvl3pPr>
            <a:lvl4pPr marL="1714500" indent="-342900">
              <a:buFont typeface="Lucida Grande"/>
              <a:buChar char="–"/>
              <a:defRPr/>
            </a:lvl4pPr>
            <a:lvl5pPr marL="2171700" indent="-342900">
              <a:buFont typeface="Lucida Grande"/>
              <a:buChar char="–"/>
              <a:defRPr/>
            </a:lvl5pPr>
          </a:lstStyle>
          <a:p>
            <a:pPr lvl="0"/>
            <a:r>
              <a:rPr lang="en-GB" noProof="0"/>
              <a:t>Click to add object</a:t>
            </a:r>
          </a:p>
        </p:txBody>
      </p:sp>
      <p:cxnSp>
        <p:nvCxnSpPr>
          <p:cNvPr id="13" name="Connecteur droit 9">
            <a:extLst>
              <a:ext uri="{FF2B5EF4-FFF2-40B4-BE49-F238E27FC236}">
                <a16:creationId xmlns:a16="http://schemas.microsoft.com/office/drawing/2014/main" id="{F349C2CC-7F8B-439A-9EC1-B72A98605BB5}"/>
              </a:ext>
            </a:extLst>
          </p:cNvPr>
          <p:cNvCxnSpPr/>
          <p:nvPr userDrawn="1"/>
        </p:nvCxnSpPr>
        <p:spPr>
          <a:xfrm>
            <a:off x="2189833" y="6421586"/>
            <a:ext cx="0" cy="288032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07F46CD-64D4-09A6-6108-B2BC9A28A6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82310" y="6070925"/>
            <a:ext cx="1529320" cy="2311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82CB34-08EB-4DE0-B45F-42F82E7448FB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58317DC-D3C0-3336-E54D-F0AA640B9B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80057" y="6250021"/>
            <a:ext cx="5722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B340518-1244-F963-C0E4-9E42867E38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8260" y="6419530"/>
            <a:ext cx="497962" cy="2311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075ED-ADFB-454C-AE70-613C55D89518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010F005D-BBBB-1A2C-377D-77C971B2B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CCC38B5-93C0-96DC-8A3D-006F83525C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324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AFE0545-9170-3108-347C-03777025006D}"/>
              </a:ext>
            </a:extLst>
          </p:cNvPr>
          <p:cNvSpPr/>
          <p:nvPr userDrawn="1"/>
        </p:nvSpPr>
        <p:spPr>
          <a:xfrm>
            <a:off x="0" y="0"/>
            <a:ext cx="12192000" cy="59396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Google Shape;16;p20">
            <a:extLst>
              <a:ext uri="{FF2B5EF4-FFF2-40B4-BE49-F238E27FC236}">
                <a16:creationId xmlns:a16="http://schemas.microsoft.com/office/drawing/2014/main" id="{63EC62FC-04A8-62C7-FED3-6B21D1D375B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461496" y="6369851"/>
            <a:ext cx="471038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CD52F63-4778-0D5B-E53E-55C1FD8724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82310" y="6070925"/>
            <a:ext cx="1529320" cy="2311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82CB34-08EB-4DE0-B45F-42F82E7448FB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051D8F-C75E-84C5-A5BC-4E85628020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80057" y="6250021"/>
            <a:ext cx="5722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0AE95-B7E9-31A8-6C1C-06FE2AC91B11}"/>
              </a:ext>
            </a:extLst>
          </p:cNvPr>
          <p:cNvSpPr txBox="1">
            <a:spLocks/>
          </p:cNvSpPr>
          <p:nvPr userDrawn="1"/>
        </p:nvSpPr>
        <p:spPr>
          <a:xfrm>
            <a:off x="11328260" y="6419530"/>
            <a:ext cx="497962" cy="2311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7075ED-ADFB-454C-AE70-613C55D8951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2441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82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A532677-E65B-4566-93A2-AD647FA001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5557" y="6186486"/>
            <a:ext cx="8281260" cy="215444"/>
          </a:xfrm>
        </p:spPr>
        <p:txBody>
          <a:bodyPr/>
          <a:lstStyle>
            <a:lvl1pPr algn="r">
              <a:defRPr sz="1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43">
            <a:extLst>
              <a:ext uri="{FF2B5EF4-FFF2-40B4-BE49-F238E27FC236}">
                <a16:creationId xmlns:a16="http://schemas.microsoft.com/office/drawing/2014/main" id="{C3FD8990-F0E7-4DC9-B259-650EBB63BC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15557" y="5754522"/>
            <a:ext cx="8281260" cy="307777"/>
          </a:xfrm>
        </p:spPr>
        <p:txBody>
          <a:bodyPr/>
          <a:lstStyle>
            <a:lvl1pPr algn="r">
              <a:defRPr sz="2000">
                <a:solidFill>
                  <a:srgbClr val="31859C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id="{7A04607A-1F02-4FB2-A4A0-2D972895B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5557" y="5020935"/>
            <a:ext cx="8281260" cy="609398"/>
          </a:xfrm>
        </p:spPr>
        <p:txBody>
          <a:bodyPr vert="horz" anchor="b" anchorCtr="0">
            <a:noAutofit/>
          </a:bodyPr>
          <a:lstStyle>
            <a:lvl1pPr algn="r"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37CEC2-F9C0-431A-9F8F-8501AC8EE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2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88EF980E-8948-4B44-B22F-EDDB4CDF10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848270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29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1"/>
            <a:ext cx="11082528" cy="1929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rgbClr val="000000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707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182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8333F20-29FF-3EF9-6D68-0D2057F613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399" y="1024043"/>
            <a:ext cx="10313043" cy="2387600"/>
          </a:xfrm>
          <a:prstGeom prst="rect">
            <a:avLst/>
          </a:prstGeom>
        </p:spPr>
        <p:txBody>
          <a:bodyPr anchor="b"/>
          <a:lstStyle>
            <a:lvl1pPr algn="l">
              <a:defRPr sz="6000" b="1" i="0">
                <a:solidFill>
                  <a:srgbClr val="009ADE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639AA6E-955D-92BE-587A-069D0EAF24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3726426"/>
            <a:ext cx="10313042" cy="15313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FF681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5CCCF04-D8D8-064B-3328-F7D998B481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399" y="3509963"/>
            <a:ext cx="10313042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804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4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9577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3044281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208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9C1C887-527A-454E-A1EC-D24BAC2C958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1C01F9-30F8-4452-A3D1-F1F26411FE40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4737" y="3680016"/>
            <a:ext cx="11637264" cy="0"/>
          </a:xfrm>
          <a:prstGeom prst="line">
            <a:avLst/>
          </a:prstGeom>
          <a:ln w="19050" cmpd="sng">
            <a:solidFill>
              <a:srgbClr val="FFFF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57508"/>
            <a:ext cx="11082528" cy="677108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FFFFFF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0212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1D4387D-3F9E-44FB-B15D-91BAEB1229BB}"/>
              </a:ext>
            </a:extLst>
          </p:cNvPr>
          <p:cNvSpPr/>
          <p:nvPr userDrawn="1"/>
        </p:nvSpPr>
        <p:spPr>
          <a:xfrm>
            <a:off x="0" y="4003040"/>
            <a:ext cx="12192000" cy="2854960"/>
          </a:xfrm>
          <a:prstGeom prst="rect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C3C407-ACE3-40C6-89A6-38F72481FA6B}"/>
              </a:ext>
            </a:extLst>
          </p:cNvPr>
          <p:cNvGrpSpPr/>
          <p:nvPr userDrawn="1"/>
        </p:nvGrpSpPr>
        <p:grpSpPr>
          <a:xfrm>
            <a:off x="0" y="2"/>
            <a:ext cx="12192000" cy="5867335"/>
            <a:chOff x="0" y="1"/>
            <a:chExt cx="12192000" cy="586733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F711CB9-347A-4E02-9D18-8EF91F197C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0" y="1"/>
              <a:ext cx="12192000" cy="5867335"/>
            </a:xfrm>
            <a:custGeom>
              <a:avLst/>
              <a:gdLst>
                <a:gd name="connsiteX0" fmla="*/ 0 w 12192000"/>
                <a:gd name="connsiteY0" fmla="*/ 0 h 5867335"/>
                <a:gd name="connsiteX1" fmla="*/ 12192000 w 12192000"/>
                <a:gd name="connsiteY1" fmla="*/ 0 h 5867335"/>
                <a:gd name="connsiteX2" fmla="*/ 12192000 w 12192000"/>
                <a:gd name="connsiteY2" fmla="*/ 4945992 h 5867335"/>
                <a:gd name="connsiteX3" fmla="*/ 3150413 w 12192000"/>
                <a:gd name="connsiteY3" fmla="*/ 4945992 h 5867335"/>
                <a:gd name="connsiteX4" fmla="*/ 2217725 w 12192000"/>
                <a:gd name="connsiteY4" fmla="*/ 5867335 h 5867335"/>
                <a:gd name="connsiteX5" fmla="*/ 2217725 w 12192000"/>
                <a:gd name="connsiteY5" fmla="*/ 4945992 h 5867335"/>
                <a:gd name="connsiteX6" fmla="*/ 0 w 12192000"/>
                <a:gd name="connsiteY6" fmla="*/ 4945992 h 586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5867335">
                  <a:moveTo>
                    <a:pt x="0" y="0"/>
                  </a:moveTo>
                  <a:lnTo>
                    <a:pt x="12192000" y="0"/>
                  </a:lnTo>
                  <a:lnTo>
                    <a:pt x="12192000" y="4945992"/>
                  </a:lnTo>
                  <a:lnTo>
                    <a:pt x="3150413" y="4945992"/>
                  </a:lnTo>
                  <a:lnTo>
                    <a:pt x="2217725" y="5867335"/>
                  </a:lnTo>
                  <a:lnTo>
                    <a:pt x="2217725" y="4945992"/>
                  </a:lnTo>
                  <a:lnTo>
                    <a:pt x="0" y="4945992"/>
                  </a:lnTo>
                  <a:close/>
                </a:path>
              </a:pathLst>
            </a:cu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BA1D677-019C-48C9-8AC8-2569322FB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634" b="1258"/>
            <a:stretch/>
          </p:blipFill>
          <p:spPr>
            <a:xfrm rot="16200000" flipH="1">
              <a:off x="6797461" y="101443"/>
              <a:ext cx="769257" cy="10019821"/>
            </a:xfrm>
            <a:custGeom>
              <a:avLst/>
              <a:gdLst>
                <a:gd name="connsiteX0" fmla="*/ 0 w 769257"/>
                <a:gd name="connsiteY0" fmla="*/ 0 h 10019821"/>
                <a:gd name="connsiteX1" fmla="*/ 0 w 769257"/>
                <a:gd name="connsiteY1" fmla="*/ 4631160 h 10019821"/>
                <a:gd name="connsiteX2" fmla="*/ 216750 w 769257"/>
                <a:gd name="connsiteY2" fmla="*/ 999646 h 10019821"/>
                <a:gd name="connsiteX3" fmla="*/ 197800 w 769257"/>
                <a:gd name="connsiteY3" fmla="*/ 10019821 h 10019821"/>
                <a:gd name="connsiteX4" fmla="*/ 769257 w 769257"/>
                <a:gd name="connsiteY4" fmla="*/ 10019821 h 10019821"/>
                <a:gd name="connsiteX5" fmla="*/ 769257 w 769257"/>
                <a:gd name="connsiteY5" fmla="*/ 0 h 100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9257" h="10019821">
                  <a:moveTo>
                    <a:pt x="0" y="0"/>
                  </a:moveTo>
                  <a:lnTo>
                    <a:pt x="0" y="4631160"/>
                  </a:lnTo>
                  <a:lnTo>
                    <a:pt x="216750" y="999646"/>
                  </a:lnTo>
                  <a:lnTo>
                    <a:pt x="197800" y="10019821"/>
                  </a:lnTo>
                  <a:lnTo>
                    <a:pt x="769257" y="10019821"/>
                  </a:lnTo>
                  <a:lnTo>
                    <a:pt x="769257" y="0"/>
                  </a:lnTo>
                  <a:close/>
                </a:path>
              </a:pathLst>
            </a:custGeom>
          </p:spPr>
        </p:pic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3" y="2301218"/>
            <a:ext cx="9180576" cy="527132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solidFill>
                  <a:srgbClr val="FFFFFF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3" y="3055781"/>
            <a:ext cx="9180576" cy="2573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FFFFFF"/>
                </a:solidFill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FFFFFF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4424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204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59645"/>
            <a:ext cx="2514600" cy="52815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73" indent="0" algn="ctr">
              <a:buNone/>
              <a:defRPr sz="2000"/>
            </a:lvl2pPr>
            <a:lvl3pPr marL="914344" indent="0" algn="ctr">
              <a:buNone/>
              <a:defRPr sz="1800"/>
            </a:lvl3pPr>
            <a:lvl4pPr marL="1371517" indent="0" algn="ctr">
              <a:buNone/>
              <a:defRPr sz="1600"/>
            </a:lvl4pPr>
            <a:lvl5pPr marL="1828689" indent="0" algn="ctr">
              <a:buNone/>
              <a:defRPr sz="1600"/>
            </a:lvl5pPr>
            <a:lvl6pPr marL="2285861" indent="0" algn="ctr">
              <a:buNone/>
              <a:defRPr sz="1600"/>
            </a:lvl6pPr>
            <a:lvl7pPr marL="2743032" indent="0" algn="ctr">
              <a:buNone/>
              <a:defRPr sz="1600"/>
            </a:lvl7pPr>
            <a:lvl8pPr marL="3200205" indent="0" algn="ctr">
              <a:buNone/>
              <a:defRPr sz="1600"/>
            </a:lvl8pPr>
            <a:lvl9pPr marL="365737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F72885E-0DE3-40A0-BBC8-570EC4E0B6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369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204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5"/>
            <a:ext cx="3465575" cy="2573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73" indent="0" algn="ctr">
              <a:buNone/>
              <a:defRPr sz="2000"/>
            </a:lvl2pPr>
            <a:lvl3pPr marL="914344" indent="0" algn="ctr">
              <a:buNone/>
              <a:defRPr sz="1800"/>
            </a:lvl3pPr>
            <a:lvl4pPr marL="1371517" indent="0" algn="ctr">
              <a:buNone/>
              <a:defRPr sz="1600"/>
            </a:lvl4pPr>
            <a:lvl5pPr marL="1828689" indent="0" algn="ctr">
              <a:buNone/>
              <a:defRPr sz="1600"/>
            </a:lvl5pPr>
            <a:lvl6pPr marL="2285861" indent="0" algn="ctr">
              <a:buNone/>
              <a:defRPr sz="1600"/>
            </a:lvl6pPr>
            <a:lvl7pPr marL="2743032" indent="0" algn="ctr">
              <a:buNone/>
              <a:defRPr sz="1600"/>
            </a:lvl7pPr>
            <a:lvl8pPr marL="3200205" indent="0" algn="ctr">
              <a:buNone/>
              <a:defRPr sz="1600"/>
            </a:lvl8pPr>
            <a:lvl9pPr marL="365737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1BE8F80-333F-4BC6-871F-362BC46867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0670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204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172212"/>
            <a:ext cx="5065776" cy="332399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919251"/>
            <a:ext cx="5065776" cy="2573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CA7FC9E0-EFDE-4AF5-ACAA-3B4E0228DDA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952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32399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204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1"/>
            <a:ext cx="6967728" cy="2573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94D5D5DE-55B8-48D5-B42B-BF9B0174FE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21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32399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1"/>
            <a:ext cx="7918704" cy="25731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rgbClr val="000000"/>
                </a:solidFill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A182C6BE-C047-4648-9A4A-E6C74AC67C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022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D5996A-E029-4838-81BD-B92B8057FE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13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3D6CD1D-0DE6-5E10-37D5-49FC5055F4BB}"/>
              </a:ext>
            </a:extLst>
          </p:cNvPr>
          <p:cNvSpPr/>
          <p:nvPr userDrawn="1"/>
        </p:nvSpPr>
        <p:spPr>
          <a:xfrm>
            <a:off x="0" y="6019800"/>
            <a:ext cx="12192000" cy="838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Google Shape;13;p20" descr="Picture 14">
            <a:extLst>
              <a:ext uri="{FF2B5EF4-FFF2-40B4-BE49-F238E27FC236}">
                <a16:creationId xmlns:a16="http://schemas.microsoft.com/office/drawing/2014/main" id="{49A86B9A-54D9-FC86-2B79-3E46A66D2BD5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75" y="6111267"/>
            <a:ext cx="2049379" cy="6272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1D70618-4888-5267-3933-B6F1A7F2B9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399" y="1024043"/>
            <a:ext cx="10313043" cy="2387600"/>
          </a:xfrm>
          <a:prstGeom prst="rect">
            <a:avLst/>
          </a:prstGeom>
        </p:spPr>
        <p:txBody>
          <a:bodyPr anchor="b"/>
          <a:lstStyle>
            <a:lvl1pPr algn="l">
              <a:defRPr sz="6000" b="1" i="0">
                <a:solidFill>
                  <a:srgbClr val="00205C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8498559F-1D15-59B6-3FF0-7FAC499E1A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3726426"/>
            <a:ext cx="10313042" cy="15313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009AD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B1DE095-BA61-AE23-65D5-9EE274B57D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4399" y="3509963"/>
            <a:ext cx="10313042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410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3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86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C89051B-E786-42AA-B6F2-180B9042A8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371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 preserve="1">
  <p:cSld name="Title Only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DA711-294A-40E1-B4D7-DC38A1349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DDA711-294A-40E1-B4D7-DC38A1349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" name="Google Shape;1119;g1333d8a84ac_0_2245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58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1" preserve="1">
  <p:cSld name="Title and Content 1"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37385-D582-47D7-89AB-A6D1FEC62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37385-D582-47D7-89AB-A6D1FEC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3" name="Google Shape;853;g1333d8a84ac_0_1133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854" name="Google Shape;854;g1333d8a84ac_0_1133"/>
          <p:cNvSpPr txBox="1">
            <a:spLocks noGrp="1"/>
          </p:cNvSpPr>
          <p:nvPr>
            <p:ph type="body" idx="1"/>
          </p:nvPr>
        </p:nvSpPr>
        <p:spPr>
          <a:xfrm>
            <a:off x="442914" y="2103120"/>
            <a:ext cx="74184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95" marR="0" lvl="0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90" marR="0" lvl="1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6" marR="0" lvl="2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81" marR="0" lvl="3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75" marR="0" lvl="4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70" marR="0" lvl="5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66" marR="0" lvl="6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61" marR="0" lvl="7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56" marR="0" lvl="8" indent="-330196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75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 and Content"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60DF3C-ABC6-4BEA-B96E-7042FC5BA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60DF3C-ABC6-4BEA-B96E-7042FC5BA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4" name="Google Shape;514;g1333d8a84ac_0_794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515" name="Google Shape;515;g1333d8a84ac_0_794"/>
          <p:cNvSpPr txBox="1">
            <a:spLocks noGrp="1"/>
          </p:cNvSpPr>
          <p:nvPr>
            <p:ph type="body" idx="1"/>
          </p:nvPr>
        </p:nvSpPr>
        <p:spPr>
          <a:xfrm>
            <a:off x="442914" y="2103120"/>
            <a:ext cx="74184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95" marR="0" lvl="0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90" marR="0" lvl="1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6" marR="0" lvl="2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81" marR="0" lvl="3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75" marR="0" lvl="4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70" marR="0" lvl="5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66" marR="0" lvl="6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61" marR="0" lvl="7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56" marR="0" lvl="8" indent="-330196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37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Full Content - Subtitle" preserve="1">
  <p:cSld name="Title and Full Content - Subtitl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0761B6-B60B-4A6C-970D-96E1FC563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0761B6-B60B-4A6C-970D-96E1FC563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6" name="Google Shape;646;g1333d8a84ac_0_926"/>
          <p:cNvSpPr txBox="1">
            <a:spLocks noGrp="1"/>
          </p:cNvSpPr>
          <p:nvPr>
            <p:ph type="body" idx="1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95" marR="0" lvl="0" indent="-33019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90" marR="0" lvl="1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86" marR="0" lvl="2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81" marR="0" lvl="3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975" marR="0" lvl="4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170" marR="0" lvl="5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366" marR="0" lvl="6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561" marR="0" lvl="7" indent="-33019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756" marR="0" lvl="8" indent="-330196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  <p:sp>
        <p:nvSpPr>
          <p:cNvPr id="647" name="Google Shape;647;g1333d8a84ac_0_926"/>
          <p:cNvSpPr txBox="1">
            <a:spLocks noGrp="1"/>
          </p:cNvSpPr>
          <p:nvPr>
            <p:ph type="title"/>
          </p:nvPr>
        </p:nvSpPr>
        <p:spPr>
          <a:xfrm>
            <a:off x="442913" y="430515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649" name="Google Shape;649;g1333d8a84ac_0_926"/>
          <p:cNvSpPr txBox="1">
            <a:spLocks noGrp="1"/>
          </p:cNvSpPr>
          <p:nvPr>
            <p:ph type="subTitle" idx="2"/>
          </p:nvPr>
        </p:nvSpPr>
        <p:spPr>
          <a:xfrm>
            <a:off x="442912" y="933434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05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7F7F7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2268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rgbClr val="7F7F7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rgbClr val="7F7F7F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2826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10664C3C-115A-DC4F-908D-8F1DE1BC4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0000"/>
                </a:solidFill>
                <a:latin typeface="Helvetica" pitchFamily="2" charset="0"/>
                <a:cs typeface="Times New Roman" panose="02020603050405020304" pitchFamily="18" charset="0"/>
              </a:defRPr>
            </a:lvl1pPr>
            <a:lvl2pPr marL="457195" indent="0" algn="ctr">
              <a:buNone/>
              <a:defRPr sz="2000"/>
            </a:lvl2pPr>
            <a:lvl3pPr marL="914390" indent="0" algn="ctr">
              <a:buNone/>
              <a:defRPr sz="1800"/>
            </a:lvl3pPr>
            <a:lvl4pPr marL="1371586" indent="0" algn="ctr">
              <a:buNone/>
              <a:defRPr sz="1600"/>
            </a:lvl4pPr>
            <a:lvl5pPr marL="1828781" indent="0" algn="ctr">
              <a:buNone/>
              <a:defRPr sz="1600"/>
            </a:lvl5pPr>
            <a:lvl6pPr marL="2285975" indent="0" algn="ctr">
              <a:buNone/>
              <a:defRPr sz="1600"/>
            </a:lvl6pPr>
            <a:lvl7pPr marL="2743170" indent="0" algn="ctr">
              <a:buNone/>
              <a:defRPr sz="1600"/>
            </a:lvl7pPr>
            <a:lvl8pPr marL="3200366" indent="0" algn="ctr">
              <a:buNone/>
              <a:defRPr sz="1600"/>
            </a:lvl8pPr>
            <a:lvl9pPr marL="365756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A2270-38F6-C042-9B2B-C3FF75E33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6CC527-B0D7-4E48-B9FC-BB2B616AA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116146-ED12-424F-B554-DDF677579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6B917C75-F585-2347-AC82-92A60787E8D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0D617CD-AC31-BA42-8C34-628E9612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pc="-100" baseline="0">
                <a:solidFill>
                  <a:srgbClr val="002060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39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133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001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083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8" y="2085629"/>
            <a:ext cx="11082528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96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182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144AAE24-FB1A-0133-2918-3A8DB8F93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3602038"/>
            <a:ext cx="670174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i="1">
                <a:solidFill>
                  <a:srgbClr val="FF681E"/>
                </a:solidFill>
                <a:latin typeface="Source Sans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8771D8-F3DB-F2E6-16B2-195F9FEBD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453224"/>
            <a:ext cx="6701742" cy="3131871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0070C0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3879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2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5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4897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35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243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133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79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083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8" y="2085629"/>
            <a:ext cx="11082528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470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2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5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8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35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4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81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19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62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69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3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7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723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83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529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ssion Title">
    <p:bg>
      <p:bgPr>
        <a:solidFill>
          <a:srgbClr val="182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144AAE24-FB1A-0133-2918-3A8DB8F93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7272" y="5001468"/>
            <a:ext cx="670174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i="1">
                <a:solidFill>
                  <a:srgbClr val="FF681E"/>
                </a:solidFill>
                <a:latin typeface="Source Sans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8771D8-F3DB-F2E6-16B2-195F9FEBD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7273" y="1709527"/>
            <a:ext cx="6701742" cy="313187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30C12B32-4065-10A5-E77F-4C290860C5AC}"/>
              </a:ext>
            </a:extLst>
          </p:cNvPr>
          <p:cNvSpPr/>
          <p:nvPr userDrawn="1"/>
        </p:nvSpPr>
        <p:spPr>
          <a:xfrm>
            <a:off x="1630018" y="2305781"/>
            <a:ext cx="2981739" cy="1900362"/>
          </a:xfrm>
          <a:prstGeom prst="rightArrow">
            <a:avLst>
              <a:gd name="adj1" fmla="val 50000"/>
              <a:gd name="adj2" fmla="val 776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16508E-F38B-8CC1-2F04-2A3EDC1502E3}"/>
              </a:ext>
            </a:extLst>
          </p:cNvPr>
          <p:cNvSpPr txBox="1"/>
          <p:nvPr userDrawn="1"/>
        </p:nvSpPr>
        <p:spPr>
          <a:xfrm>
            <a:off x="1630018" y="2890985"/>
            <a:ext cx="3474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>
                <a:solidFill>
                  <a:srgbClr val="182757"/>
                </a:solidFill>
                <a:latin typeface="Source Sans Pro" panose="020B0503030403020204" pitchFamily="34" charset="0"/>
                <a:cs typeface="Aharoni" panose="02010803020104030203" pitchFamily="2" charset="-79"/>
              </a:rPr>
              <a:t>Next session</a:t>
            </a:r>
          </a:p>
        </p:txBody>
      </p:sp>
    </p:spTree>
    <p:extLst>
      <p:ext uri="{BB962C8B-B14F-4D97-AF65-F5344CB8AC3E}">
        <p14:creationId xmlns:p14="http://schemas.microsoft.com/office/powerpoint/2010/main" val="28368505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487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271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814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7292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453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24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400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04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682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31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357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57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410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2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8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38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44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04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95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04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909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l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144AAE24-FB1A-0133-2918-3A8DB8F93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3602038"/>
            <a:ext cx="6701742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i="1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8771D8-F3DB-F2E6-16B2-195F9FEBD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453224"/>
            <a:ext cx="6701742" cy="3131871"/>
          </a:xfrm>
          <a:prstGeom prst="rect">
            <a:avLst/>
          </a:prstGeom>
        </p:spPr>
        <p:txBody>
          <a:bodyPr anchor="b"/>
          <a:lstStyle>
            <a:lvl1pPr>
              <a:defRPr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Google Shape;13;p20" descr="Picture 14">
            <a:extLst>
              <a:ext uri="{FF2B5EF4-FFF2-40B4-BE49-F238E27FC236}">
                <a16:creationId xmlns:a16="http://schemas.microsoft.com/office/drawing/2014/main" id="{7E7E3BE2-1972-46DB-A1EB-27D897B8D45E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75" y="6111267"/>
            <a:ext cx="2049379" cy="6272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87250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84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263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91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5382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69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35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7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254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83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4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606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487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601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814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4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7292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1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696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24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400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14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682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4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30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357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473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Image">
    <p:bg>
      <p:bgPr>
        <a:solidFill>
          <a:srgbClr val="182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144AAE24-FB1A-0133-2918-3A8DB8F93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3321071"/>
            <a:ext cx="5331726" cy="2622529"/>
          </a:xfrm>
          <a:prstGeom prst="rect">
            <a:avLst/>
          </a:prstGeom>
        </p:spPr>
        <p:txBody>
          <a:bodyPr/>
          <a:lstStyle>
            <a:lvl1pPr marL="177800" indent="-177800" algn="l">
              <a:buNone/>
              <a:defRPr sz="2400" i="1">
                <a:solidFill>
                  <a:srgbClr val="FF681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8771D8-F3DB-F2E6-16B2-195F9FEBD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453225"/>
            <a:ext cx="5331726" cy="2802738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ADD3F7B-43BE-DA11-ED28-03752AFCB3B1}"/>
              </a:ext>
            </a:extLst>
          </p:cNvPr>
          <p:cNvGrpSpPr/>
          <p:nvPr userDrawn="1"/>
        </p:nvGrpSpPr>
        <p:grpSpPr>
          <a:xfrm rot="900000">
            <a:off x="6845198" y="115596"/>
            <a:ext cx="5105038" cy="5301356"/>
            <a:chOff x="7467384" y="120320"/>
            <a:chExt cx="3673080" cy="3814332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9E4A60DE-AFB3-F287-610D-FAACD1B6995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24556" y="2247652"/>
              <a:ext cx="828675" cy="828675"/>
            </a:xfrm>
            <a:prstGeom prst="rect">
              <a:avLst/>
            </a:prstGeom>
          </p:spPr>
        </p:pic>
        <p:pic>
          <p:nvPicPr>
            <p:cNvPr id="6" name="Icon">
              <a:extLst>
                <a:ext uri="{FF2B5EF4-FFF2-40B4-BE49-F238E27FC236}">
                  <a16:creationId xmlns:a16="http://schemas.microsoft.com/office/drawing/2014/main" id="{1ED89FEF-B8C9-ADF7-8455-B8BDB9D8F48F}"/>
                </a:ext>
              </a:extLst>
            </p:cNvPr>
            <p:cNvPicPr/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87750" y="2282658"/>
              <a:ext cx="807940" cy="72081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9642EFC-2F21-17EF-C481-819B9155C5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858086" y="2886993"/>
              <a:ext cx="865693" cy="79643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E8D60321-7EDA-772E-DDD2-F25C9B9796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61282" y="358217"/>
              <a:ext cx="885442" cy="628912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5E35BC1-4DE3-0E37-03E0-DA3A5AAE69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737947" y="992644"/>
              <a:ext cx="860801" cy="657339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A3496BDB-35DC-D628-D41C-608AF3CC54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888841" y="1662138"/>
              <a:ext cx="830325" cy="800932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96893DF1-1DE0-ED6D-4638-720CBCD39F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598541" y="120320"/>
              <a:ext cx="1418390" cy="1240200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EAE12AF8-4390-22DF-42CD-C27CA5B4FD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598541" y="1399059"/>
              <a:ext cx="1418390" cy="1240200"/>
            </a:xfrm>
            <a:prstGeom prst="rect">
              <a:avLst/>
            </a:prstGeom>
          </p:spPr>
        </p:pic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71F834DB-A5F2-4F88-996F-0371319BA2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585311" y="2694452"/>
              <a:ext cx="1418390" cy="1240200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047D6A5A-237C-7715-037D-346B26E3A5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722074" y="2057698"/>
              <a:ext cx="1418390" cy="1240200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E4ED3ECB-91BD-4B7A-B7A2-592F8740D1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722074" y="755100"/>
              <a:ext cx="1418390" cy="124020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4F8FF698-9725-2BA1-082E-3820A7F2AD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36480" y="1116784"/>
              <a:ext cx="962218" cy="580162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D7266CA5-8B90-3D27-8F73-42BFC704E3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467384" y="2036102"/>
              <a:ext cx="1418390" cy="1240200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474D2A6A-4475-CB4D-71B4-FE56E16F24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467384" y="748892"/>
              <a:ext cx="1418390" cy="1240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4981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161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2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8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836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44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38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95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40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771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28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84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21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91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39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359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4582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043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358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97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755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42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4921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BBF4CA-E3C7-7B98-3594-C00D524ACA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9262" y="1386805"/>
            <a:ext cx="5480538" cy="4536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EEF8E3-62D3-BBB6-76AE-D5F8A661B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885" y="1386805"/>
            <a:ext cx="5480538" cy="4536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8A75213A-EEDD-889F-064F-F3EF25BA0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F85606F-A0E4-CEC0-50D7-15CA8130B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9AFE291-588B-B989-51A0-9363452B8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CD8AFED8-1141-6C0F-3ED2-32CC69B91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83227"/>
            <a:ext cx="11763213" cy="1039083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FAA9F76-D832-FA5C-A55B-B5C42FFEBA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475" y="1122310"/>
            <a:ext cx="10514106" cy="10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9338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2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403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50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554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97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48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42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48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2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3186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50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16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3509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245D5B-A391-4060-B58C-E17D1C2FC06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2895600" y="2269674"/>
            <a:ext cx="6492240" cy="231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23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:a16="http://schemas.microsoft.com/office/drawing/2014/main" id="{5F1B2FF6-C631-4D69-AD07-A1575FDDB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700" y="0"/>
            <a:ext cx="121913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A1092D5-8FBC-4B49-95BE-0896E37575B2}"/>
              </a:ext>
            </a:extLst>
          </p:cNvPr>
          <p:cNvSpPr txBox="1"/>
          <p:nvPr userDrawn="1"/>
        </p:nvSpPr>
        <p:spPr bwMode="ltGray">
          <a:xfrm>
            <a:off x="1016059" y="4840065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SouthAsia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7" name="Picture 2" descr="Image result for facebook twitter logos">
            <a:extLst>
              <a:ext uri="{FF2B5EF4-FFF2-40B4-BE49-F238E27FC236}">
                <a16:creationId xmlns:a16="http://schemas.microsoft.com/office/drawing/2014/main" id="{38650111-84F6-472E-AFD1-E03A70EC988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260612" y="4699001"/>
            <a:ext cx="69195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facebook twitter logos">
            <a:extLst>
              <a:ext uri="{FF2B5EF4-FFF2-40B4-BE49-F238E27FC236}">
                <a16:creationId xmlns:a16="http://schemas.microsoft.com/office/drawing/2014/main" id="{1B0F7BD5-CE18-45A5-A066-92408CDBC54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90607" y="5397501"/>
            <a:ext cx="761956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Image result for @">
            <a:extLst>
              <a:ext uri="{FF2B5EF4-FFF2-40B4-BE49-F238E27FC236}">
                <a16:creationId xmlns:a16="http://schemas.microsoft.com/office/drawing/2014/main" id="{3EFB5D2E-AA62-434F-ACA8-CAD6367E73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2421" y="6106126"/>
            <a:ext cx="913638" cy="52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6E0B782-4B95-4663-9CB7-97C9665B5495}"/>
              </a:ext>
            </a:extLst>
          </p:cNvPr>
          <p:cNvSpPr txBox="1"/>
          <p:nvPr userDrawn="1"/>
        </p:nvSpPr>
        <p:spPr bwMode="ltGray">
          <a:xfrm>
            <a:off x="1016059" y="5538565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Sasia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25D567-311D-49E1-B777-56336E35A658}"/>
              </a:ext>
            </a:extLst>
          </p:cNvPr>
          <p:cNvSpPr txBox="1"/>
          <p:nvPr userDrawn="1"/>
        </p:nvSpPr>
        <p:spPr bwMode="ltGray">
          <a:xfrm>
            <a:off x="1016059" y="6203369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.org/</a:t>
            </a:r>
            <a:r>
              <a:rPr lang="en-US" sz="200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ar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76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75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085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75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43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43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9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5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69.xml"/><Relationship Id="rId63" Type="http://schemas.openxmlformats.org/officeDocument/2006/relationships/slideLayout" Target="../slideLayouts/slideLayout90.xml"/><Relationship Id="rId84" Type="http://schemas.openxmlformats.org/officeDocument/2006/relationships/slideLayout" Target="../slideLayouts/slideLayout111.xml"/><Relationship Id="rId138" Type="http://schemas.openxmlformats.org/officeDocument/2006/relationships/slideLayout" Target="../slideLayouts/slideLayout165.xml"/><Relationship Id="rId159" Type="http://schemas.openxmlformats.org/officeDocument/2006/relationships/image" Target="../media/image27.png"/><Relationship Id="rId107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80.xml"/><Relationship Id="rId74" Type="http://schemas.openxmlformats.org/officeDocument/2006/relationships/slideLayout" Target="../slideLayouts/slideLayout101.xml"/><Relationship Id="rId128" Type="http://schemas.openxmlformats.org/officeDocument/2006/relationships/slideLayout" Target="../slideLayouts/slideLayout155.xml"/><Relationship Id="rId149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32.xml"/><Relationship Id="rId95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70.xml"/><Relationship Id="rId64" Type="http://schemas.openxmlformats.org/officeDocument/2006/relationships/slideLayout" Target="../slideLayouts/slideLayout91.xml"/><Relationship Id="rId118" Type="http://schemas.openxmlformats.org/officeDocument/2006/relationships/slideLayout" Target="../slideLayouts/slideLayout145.xml"/><Relationship Id="rId139" Type="http://schemas.openxmlformats.org/officeDocument/2006/relationships/slideLayout" Target="../slideLayouts/slideLayout166.xml"/><Relationship Id="rId80" Type="http://schemas.openxmlformats.org/officeDocument/2006/relationships/slideLayout" Target="../slideLayouts/slideLayout107.xml"/><Relationship Id="rId85" Type="http://schemas.openxmlformats.org/officeDocument/2006/relationships/slideLayout" Target="../slideLayouts/slideLayout112.xml"/><Relationship Id="rId150" Type="http://schemas.openxmlformats.org/officeDocument/2006/relationships/slideLayout" Target="../slideLayouts/slideLayout177.xml"/><Relationship Id="rId155" Type="http://schemas.openxmlformats.org/officeDocument/2006/relationships/tags" Target="../tags/tag1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59" Type="http://schemas.openxmlformats.org/officeDocument/2006/relationships/slideLayout" Target="../slideLayouts/slideLayout86.xml"/><Relationship Id="rId103" Type="http://schemas.openxmlformats.org/officeDocument/2006/relationships/slideLayout" Target="../slideLayouts/slideLayout130.xml"/><Relationship Id="rId108" Type="http://schemas.openxmlformats.org/officeDocument/2006/relationships/slideLayout" Target="../slideLayouts/slideLayout135.xml"/><Relationship Id="rId124" Type="http://schemas.openxmlformats.org/officeDocument/2006/relationships/slideLayout" Target="../slideLayouts/slideLayout151.xml"/><Relationship Id="rId129" Type="http://schemas.openxmlformats.org/officeDocument/2006/relationships/slideLayout" Target="../slideLayouts/slideLayout156.xml"/><Relationship Id="rId54" Type="http://schemas.openxmlformats.org/officeDocument/2006/relationships/slideLayout" Target="../slideLayouts/slideLayout81.xml"/><Relationship Id="rId70" Type="http://schemas.openxmlformats.org/officeDocument/2006/relationships/slideLayout" Target="../slideLayouts/slideLayout97.xml"/><Relationship Id="rId75" Type="http://schemas.openxmlformats.org/officeDocument/2006/relationships/slideLayout" Target="../slideLayouts/slideLayout102.xml"/><Relationship Id="rId91" Type="http://schemas.openxmlformats.org/officeDocument/2006/relationships/slideLayout" Target="../slideLayouts/slideLayout118.xml"/><Relationship Id="rId96" Type="http://schemas.openxmlformats.org/officeDocument/2006/relationships/slideLayout" Target="../slideLayouts/slideLayout123.xml"/><Relationship Id="rId140" Type="http://schemas.openxmlformats.org/officeDocument/2006/relationships/slideLayout" Target="../slideLayouts/slideLayout167.xml"/><Relationship Id="rId145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49" Type="http://schemas.openxmlformats.org/officeDocument/2006/relationships/slideLayout" Target="../slideLayouts/slideLayout76.xml"/><Relationship Id="rId114" Type="http://schemas.openxmlformats.org/officeDocument/2006/relationships/slideLayout" Target="../slideLayouts/slideLayout141.xml"/><Relationship Id="rId119" Type="http://schemas.openxmlformats.org/officeDocument/2006/relationships/slideLayout" Target="../slideLayouts/slideLayout146.xml"/><Relationship Id="rId44" Type="http://schemas.openxmlformats.org/officeDocument/2006/relationships/slideLayout" Target="../slideLayouts/slideLayout71.xml"/><Relationship Id="rId60" Type="http://schemas.openxmlformats.org/officeDocument/2006/relationships/slideLayout" Target="../slideLayouts/slideLayout87.xml"/><Relationship Id="rId65" Type="http://schemas.openxmlformats.org/officeDocument/2006/relationships/slideLayout" Target="../slideLayouts/slideLayout92.xml"/><Relationship Id="rId81" Type="http://schemas.openxmlformats.org/officeDocument/2006/relationships/slideLayout" Target="../slideLayouts/slideLayout108.xml"/><Relationship Id="rId86" Type="http://schemas.openxmlformats.org/officeDocument/2006/relationships/slideLayout" Target="../slideLayouts/slideLayout113.xml"/><Relationship Id="rId130" Type="http://schemas.openxmlformats.org/officeDocument/2006/relationships/slideLayout" Target="../slideLayouts/slideLayout157.xml"/><Relationship Id="rId135" Type="http://schemas.openxmlformats.org/officeDocument/2006/relationships/slideLayout" Target="../slideLayouts/slideLayout162.xml"/><Relationship Id="rId151" Type="http://schemas.openxmlformats.org/officeDocument/2006/relationships/slideLayout" Target="../slideLayouts/slideLayout178.xml"/><Relationship Id="rId156" Type="http://schemas.openxmlformats.org/officeDocument/2006/relationships/tags" Target="../tags/tag2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66.xml"/><Relationship Id="rId10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76" Type="http://schemas.openxmlformats.org/officeDocument/2006/relationships/slideLayout" Target="../slideLayouts/slideLayout103.xml"/><Relationship Id="rId97" Type="http://schemas.openxmlformats.org/officeDocument/2006/relationships/slideLayout" Target="../slideLayouts/slideLayout124.xml"/><Relationship Id="rId104" Type="http://schemas.openxmlformats.org/officeDocument/2006/relationships/slideLayout" Target="../slideLayouts/slideLayout131.xml"/><Relationship Id="rId120" Type="http://schemas.openxmlformats.org/officeDocument/2006/relationships/slideLayout" Target="../slideLayouts/slideLayout147.xml"/><Relationship Id="rId125" Type="http://schemas.openxmlformats.org/officeDocument/2006/relationships/slideLayout" Target="../slideLayouts/slideLayout152.xml"/><Relationship Id="rId141" Type="http://schemas.openxmlformats.org/officeDocument/2006/relationships/slideLayout" Target="../slideLayouts/slideLayout168.xml"/><Relationship Id="rId146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34.xml"/><Relationship Id="rId71" Type="http://schemas.openxmlformats.org/officeDocument/2006/relationships/slideLayout" Target="../slideLayouts/slideLayout98.xml"/><Relationship Id="rId9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66" Type="http://schemas.openxmlformats.org/officeDocument/2006/relationships/slideLayout" Target="../slideLayouts/slideLayout93.xml"/><Relationship Id="rId87" Type="http://schemas.openxmlformats.org/officeDocument/2006/relationships/slideLayout" Target="../slideLayouts/slideLayout114.xml"/><Relationship Id="rId110" Type="http://schemas.openxmlformats.org/officeDocument/2006/relationships/slideLayout" Target="../slideLayouts/slideLayout137.xml"/><Relationship Id="rId115" Type="http://schemas.openxmlformats.org/officeDocument/2006/relationships/slideLayout" Target="../slideLayouts/slideLayout142.xml"/><Relationship Id="rId131" Type="http://schemas.openxmlformats.org/officeDocument/2006/relationships/slideLayout" Target="../slideLayouts/slideLayout158.xml"/><Relationship Id="rId136" Type="http://schemas.openxmlformats.org/officeDocument/2006/relationships/slideLayout" Target="../slideLayouts/slideLayout163.xml"/><Relationship Id="rId157" Type="http://schemas.openxmlformats.org/officeDocument/2006/relationships/oleObject" Target="../embeddings/oleObject1.bin"/><Relationship Id="rId61" Type="http://schemas.openxmlformats.org/officeDocument/2006/relationships/slideLayout" Target="../slideLayouts/slideLayout88.xml"/><Relationship Id="rId82" Type="http://schemas.openxmlformats.org/officeDocument/2006/relationships/slideLayout" Target="../slideLayouts/slideLayout109.xml"/><Relationship Id="rId152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83.xml"/><Relationship Id="rId77" Type="http://schemas.openxmlformats.org/officeDocument/2006/relationships/slideLayout" Target="../slideLayouts/slideLayout104.xml"/><Relationship Id="rId100" Type="http://schemas.openxmlformats.org/officeDocument/2006/relationships/slideLayout" Target="../slideLayouts/slideLayout127.xml"/><Relationship Id="rId105" Type="http://schemas.openxmlformats.org/officeDocument/2006/relationships/slideLayout" Target="../slideLayouts/slideLayout132.xml"/><Relationship Id="rId126" Type="http://schemas.openxmlformats.org/officeDocument/2006/relationships/slideLayout" Target="../slideLayouts/slideLayout153.xml"/><Relationship Id="rId147" Type="http://schemas.openxmlformats.org/officeDocument/2006/relationships/slideLayout" Target="../slideLayouts/slideLayout174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72" Type="http://schemas.openxmlformats.org/officeDocument/2006/relationships/slideLayout" Target="../slideLayouts/slideLayout99.xml"/><Relationship Id="rId93" Type="http://schemas.openxmlformats.org/officeDocument/2006/relationships/slideLayout" Target="../slideLayouts/slideLayout120.xml"/><Relationship Id="rId98" Type="http://schemas.openxmlformats.org/officeDocument/2006/relationships/slideLayout" Target="../slideLayouts/slideLayout125.xml"/><Relationship Id="rId121" Type="http://schemas.openxmlformats.org/officeDocument/2006/relationships/slideLayout" Target="../slideLayouts/slideLayout148.xml"/><Relationship Id="rId142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73.xml"/><Relationship Id="rId67" Type="http://schemas.openxmlformats.org/officeDocument/2006/relationships/slideLayout" Target="../slideLayouts/slideLayout94.xml"/><Relationship Id="rId116" Type="http://schemas.openxmlformats.org/officeDocument/2006/relationships/slideLayout" Target="../slideLayouts/slideLayout143.xml"/><Relationship Id="rId137" Type="http://schemas.openxmlformats.org/officeDocument/2006/relationships/slideLayout" Target="../slideLayouts/slideLayout164.xml"/><Relationship Id="rId158" Type="http://schemas.openxmlformats.org/officeDocument/2006/relationships/image" Target="../media/image26.emf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89.xml"/><Relationship Id="rId83" Type="http://schemas.openxmlformats.org/officeDocument/2006/relationships/slideLayout" Target="../slideLayouts/slideLayout110.xml"/><Relationship Id="rId88" Type="http://schemas.openxmlformats.org/officeDocument/2006/relationships/slideLayout" Target="../slideLayouts/slideLayout115.xml"/><Relationship Id="rId111" Type="http://schemas.openxmlformats.org/officeDocument/2006/relationships/slideLayout" Target="../slideLayouts/slideLayout138.xml"/><Relationship Id="rId132" Type="http://schemas.openxmlformats.org/officeDocument/2006/relationships/slideLayout" Target="../slideLayouts/slideLayout159.xml"/><Relationship Id="rId153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84.xml"/><Relationship Id="rId106" Type="http://schemas.openxmlformats.org/officeDocument/2006/relationships/slideLayout" Target="../slideLayouts/slideLayout133.xml"/><Relationship Id="rId12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79.xml"/><Relationship Id="rId73" Type="http://schemas.openxmlformats.org/officeDocument/2006/relationships/slideLayout" Target="../slideLayouts/slideLayout100.xml"/><Relationship Id="rId78" Type="http://schemas.openxmlformats.org/officeDocument/2006/relationships/slideLayout" Target="../slideLayouts/slideLayout105.xml"/><Relationship Id="rId94" Type="http://schemas.openxmlformats.org/officeDocument/2006/relationships/slideLayout" Target="../slideLayouts/slideLayout121.xml"/><Relationship Id="rId99" Type="http://schemas.openxmlformats.org/officeDocument/2006/relationships/slideLayout" Target="../slideLayouts/slideLayout126.xml"/><Relationship Id="rId101" Type="http://schemas.openxmlformats.org/officeDocument/2006/relationships/slideLayout" Target="../slideLayouts/slideLayout128.xml"/><Relationship Id="rId122" Type="http://schemas.openxmlformats.org/officeDocument/2006/relationships/slideLayout" Target="../slideLayouts/slideLayout149.xml"/><Relationship Id="rId143" Type="http://schemas.openxmlformats.org/officeDocument/2006/relationships/slideLayout" Target="../slideLayouts/slideLayout170.xml"/><Relationship Id="rId148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95.xml"/><Relationship Id="rId89" Type="http://schemas.openxmlformats.org/officeDocument/2006/relationships/slideLayout" Target="../slideLayouts/slideLayout116.xml"/><Relationship Id="rId112" Type="http://schemas.openxmlformats.org/officeDocument/2006/relationships/slideLayout" Target="../slideLayouts/slideLayout139.xml"/><Relationship Id="rId133" Type="http://schemas.openxmlformats.org/officeDocument/2006/relationships/slideLayout" Target="../slideLayouts/slideLayout160.xml"/><Relationship Id="rId154" Type="http://schemas.openxmlformats.org/officeDocument/2006/relationships/theme" Target="../theme/theme2.xml"/><Relationship Id="rId16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85.xml"/><Relationship Id="rId79" Type="http://schemas.openxmlformats.org/officeDocument/2006/relationships/slideLayout" Target="../slideLayouts/slideLayout106.xml"/><Relationship Id="rId102" Type="http://schemas.openxmlformats.org/officeDocument/2006/relationships/slideLayout" Target="../slideLayouts/slideLayout129.xml"/><Relationship Id="rId123" Type="http://schemas.openxmlformats.org/officeDocument/2006/relationships/slideLayout" Target="../slideLayouts/slideLayout150.xml"/><Relationship Id="rId144" Type="http://schemas.openxmlformats.org/officeDocument/2006/relationships/slideLayout" Target="../slideLayouts/slideLayout171.xml"/><Relationship Id="rId90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96.xml"/><Relationship Id="rId113" Type="http://schemas.openxmlformats.org/officeDocument/2006/relationships/slideLayout" Target="../slideLayouts/slideLayout140.xml"/><Relationship Id="rId134" Type="http://schemas.openxmlformats.org/officeDocument/2006/relationships/slideLayout" Target="../slideLayouts/slideLayout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3F3F06-216D-9552-C477-19C636B65A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55356" y="6264354"/>
            <a:ext cx="1155997" cy="2467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B1F11-1D31-4A91-8918-84062D7C250C}" type="datetimeFigureOut">
              <a:rPr lang="en-GB" smtClean="0"/>
              <a:pPr/>
              <a:t>30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9A15C5-BDE9-19B5-0E96-8256D4EE48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38691" y="6128314"/>
            <a:ext cx="4808551" cy="5931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017AD-259E-8807-430D-8B6ED7286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84169" y="6528035"/>
            <a:ext cx="627185" cy="2467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DF2A2-9748-46A5-88E0-E8CC6DF2D35B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7B9ED64-1227-2A21-49C1-4F056B2A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75" y="126846"/>
            <a:ext cx="11763213" cy="724808"/>
          </a:xfrm>
          <a:prstGeom prst="rect">
            <a:avLst/>
          </a:prstGeom>
        </p:spPr>
        <p:txBody>
          <a:bodyPr vert="horz" lIns="0" tIns="36000" rIns="0" bIns="3600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76BD71A-A6FA-27B8-7314-DF75CE9610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431" y="1162055"/>
            <a:ext cx="11075923" cy="4602261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Google Shape;13;p20" descr="Picture 14">
            <a:extLst>
              <a:ext uri="{FF2B5EF4-FFF2-40B4-BE49-F238E27FC236}">
                <a16:creationId xmlns:a16="http://schemas.microsoft.com/office/drawing/2014/main" id="{6C51462E-85AB-46BF-D65A-1A945C43CB92}"/>
              </a:ext>
            </a:extLst>
          </p:cNvPr>
          <p:cNvPicPr preferRelativeResize="0"/>
          <p:nvPr userDrawn="1"/>
        </p:nvPicPr>
        <p:blipFill rotWithShape="1">
          <a:blip r:embed="rId2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475" y="6111267"/>
            <a:ext cx="2049379" cy="62725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13604CF5-7886-0F28-2303-F8A44B8A1576}"/>
              </a:ext>
            </a:extLst>
          </p:cNvPr>
          <p:cNvGrpSpPr/>
          <p:nvPr userDrawn="1"/>
        </p:nvGrpSpPr>
        <p:grpSpPr>
          <a:xfrm>
            <a:off x="13295086" y="0"/>
            <a:ext cx="3193143" cy="3760112"/>
            <a:chOff x="12598400" y="-2540001"/>
            <a:chExt cx="3193143" cy="3760112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F923AE5-CF1E-85D6-C9A5-0D292E3C7A20}"/>
                </a:ext>
              </a:extLst>
            </p:cNvPr>
            <p:cNvSpPr/>
            <p:nvPr userDrawn="1"/>
          </p:nvSpPr>
          <p:spPr>
            <a:xfrm>
              <a:off x="12598400" y="-2540001"/>
              <a:ext cx="3193143" cy="3760112"/>
            </a:xfrm>
            <a:prstGeom prst="roundRect">
              <a:avLst>
                <a:gd name="adj" fmla="val 9394"/>
              </a:avLst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D5BACDD-249F-A65C-1C20-E2EAA31691B5}"/>
                </a:ext>
              </a:extLst>
            </p:cNvPr>
            <p:cNvSpPr/>
            <p:nvPr userDrawn="1"/>
          </p:nvSpPr>
          <p:spPr>
            <a:xfrm>
              <a:off x="12787085" y="-740231"/>
              <a:ext cx="812800" cy="812800"/>
            </a:xfrm>
            <a:prstGeom prst="ellipse">
              <a:avLst/>
            </a:prstGeom>
            <a:solidFill>
              <a:srgbClr val="009A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7D2A8F1-7032-8CEF-CE31-935C1A44EBEF}"/>
                </a:ext>
              </a:extLst>
            </p:cNvPr>
            <p:cNvSpPr/>
            <p:nvPr userDrawn="1"/>
          </p:nvSpPr>
          <p:spPr>
            <a:xfrm>
              <a:off x="12787085" y="-2373088"/>
              <a:ext cx="812800" cy="812800"/>
            </a:xfrm>
            <a:prstGeom prst="ellipse">
              <a:avLst/>
            </a:prstGeom>
            <a:solidFill>
              <a:srgbClr val="0020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8E4E999-138B-0C9E-AFD9-430FB9710C43}"/>
                </a:ext>
              </a:extLst>
            </p:cNvPr>
            <p:cNvSpPr/>
            <p:nvPr userDrawn="1"/>
          </p:nvSpPr>
          <p:spPr>
            <a:xfrm>
              <a:off x="13795828" y="-2376716"/>
              <a:ext cx="812800" cy="812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414BD8B-9373-9A5F-C579-89B39C73D858}"/>
                </a:ext>
              </a:extLst>
            </p:cNvPr>
            <p:cNvSpPr/>
            <p:nvPr userDrawn="1"/>
          </p:nvSpPr>
          <p:spPr>
            <a:xfrm>
              <a:off x="13795828" y="-740231"/>
              <a:ext cx="812800" cy="812800"/>
            </a:xfrm>
            <a:prstGeom prst="ellipse">
              <a:avLst/>
            </a:prstGeom>
            <a:solidFill>
              <a:srgbClr val="FF68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EF05869-1C7A-8DEB-9B45-DC5F2AAD6B9E}"/>
                </a:ext>
              </a:extLst>
            </p:cNvPr>
            <p:cNvSpPr/>
            <p:nvPr userDrawn="1"/>
          </p:nvSpPr>
          <p:spPr>
            <a:xfrm>
              <a:off x="14804571" y="-740231"/>
              <a:ext cx="812800" cy="812800"/>
            </a:xfrm>
            <a:prstGeom prst="ellipse">
              <a:avLst/>
            </a:prstGeom>
            <a:solidFill>
              <a:srgbClr val="F4A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496A7CA-FF88-3C2E-095A-A96AAF791776}"/>
                </a:ext>
              </a:extLst>
            </p:cNvPr>
            <p:cNvSpPr/>
            <p:nvPr userDrawn="1"/>
          </p:nvSpPr>
          <p:spPr>
            <a:xfrm>
              <a:off x="12787085" y="242506"/>
              <a:ext cx="812800" cy="812800"/>
            </a:xfrm>
            <a:prstGeom prst="ellipse">
              <a:avLst/>
            </a:prstGeom>
            <a:solidFill>
              <a:srgbClr val="A71D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99273BA-99DB-587E-4ED5-36A60199FC4E}"/>
                </a:ext>
              </a:extLst>
            </p:cNvPr>
            <p:cNvSpPr/>
            <p:nvPr userDrawn="1"/>
          </p:nvSpPr>
          <p:spPr>
            <a:xfrm>
              <a:off x="13795828" y="242506"/>
              <a:ext cx="812800" cy="812800"/>
            </a:xfrm>
            <a:prstGeom prst="ellipse">
              <a:avLst/>
            </a:prstGeom>
            <a:solidFill>
              <a:srgbClr val="5B11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5576552F-F247-61C2-3CE2-EE3A8CE1E707}"/>
                </a:ext>
              </a:extLst>
            </p:cNvPr>
            <p:cNvSpPr/>
            <p:nvPr userDrawn="1"/>
          </p:nvSpPr>
          <p:spPr>
            <a:xfrm>
              <a:off x="14804571" y="242506"/>
              <a:ext cx="812800" cy="812800"/>
            </a:xfrm>
            <a:prstGeom prst="ellipse">
              <a:avLst/>
            </a:prstGeom>
            <a:solidFill>
              <a:srgbClr val="7EB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46878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7" r:id="rId2"/>
    <p:sldLayoutId id="2147483649" r:id="rId3"/>
    <p:sldLayoutId id="2147483685" r:id="rId4"/>
    <p:sldLayoutId id="2147483651" r:id="rId5"/>
    <p:sldLayoutId id="2147483692" r:id="rId6"/>
    <p:sldLayoutId id="2147483686" r:id="rId7"/>
    <p:sldLayoutId id="2147483684" r:id="rId8"/>
    <p:sldLayoutId id="2147483652" r:id="rId9"/>
    <p:sldLayoutId id="2147483688" r:id="rId10"/>
    <p:sldLayoutId id="2147483653" r:id="rId11"/>
    <p:sldLayoutId id="2147483654" r:id="rId12"/>
    <p:sldLayoutId id="2147483655" r:id="rId13"/>
    <p:sldLayoutId id="2147483682" r:id="rId14"/>
    <p:sldLayoutId id="2147483656" r:id="rId15"/>
    <p:sldLayoutId id="2147483657" r:id="rId16"/>
    <p:sldLayoutId id="2147483658" r:id="rId17"/>
    <p:sldLayoutId id="2147483659" r:id="rId18"/>
    <p:sldLayoutId id="2147483683" r:id="rId19"/>
    <p:sldLayoutId id="2147483673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1" kern="1200">
          <a:solidFill>
            <a:srgbClr val="182757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182757"/>
        </a:buClr>
        <a:buFont typeface="Arial" panose="020B0604020202020204" pitchFamily="34" charset="0"/>
        <a:buChar char="•"/>
        <a:defRPr sz="2800" kern="1200">
          <a:solidFill>
            <a:srgbClr val="182757"/>
          </a:solidFill>
          <a:latin typeface="Source Sans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8BBE2"/>
        </a:buClr>
        <a:buSzPct val="120000"/>
        <a:buFont typeface="Arial" panose="020B0604020202020204" pitchFamily="34" charset="0"/>
        <a:buChar char="•"/>
        <a:defRPr sz="2400" kern="1200">
          <a:solidFill>
            <a:srgbClr val="182757"/>
          </a:solidFill>
          <a:latin typeface="Source Sans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82757"/>
        </a:buClr>
        <a:buSzPct val="80000"/>
        <a:buFont typeface="Courier New" panose="02070309020205020404" pitchFamily="49" charset="0"/>
        <a:buChar char="o"/>
        <a:defRPr sz="2000" kern="1200">
          <a:solidFill>
            <a:srgbClr val="182757"/>
          </a:solidFill>
          <a:latin typeface="Source Sans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8BBE2"/>
        </a:buClr>
        <a:buSzPct val="80000"/>
        <a:buFont typeface="Courier New" panose="02070309020205020404" pitchFamily="49" charset="0"/>
        <a:buChar char="o"/>
        <a:defRPr sz="1800" kern="1200">
          <a:solidFill>
            <a:srgbClr val="182757"/>
          </a:solidFill>
          <a:latin typeface="Source Sans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68BBE2"/>
        </a:buClr>
        <a:buSzPct val="80000"/>
        <a:buFont typeface="Arial" panose="020B0604020202020204" pitchFamily="34" charset="0"/>
        <a:buChar char="•"/>
        <a:defRPr sz="1800" kern="1200">
          <a:solidFill>
            <a:srgbClr val="182757"/>
          </a:solidFill>
          <a:latin typeface="Source Sans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5"/>
            </p:custDataLst>
            <p:extLst>
              <p:ext uri="{D42A27DB-BD31-4B8C-83A1-F6EECF244321}">
                <p14:modId xmlns:p14="http://schemas.microsoft.com/office/powerpoint/2010/main" val="65178045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270" imgH="270" progId="TCLayout.ActiveDocument.1">
                  <p:embed/>
                </p:oleObj>
              </mc:Choice>
              <mc:Fallback>
                <p:oleObj name="think-cell Slide" r:id="rId1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079" y="421354"/>
            <a:ext cx="1108252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079" y="1825625"/>
            <a:ext cx="11082528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auto">
          <a:xfrm>
            <a:off x="10366121" y="6337914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15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7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37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203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804" r:id="rId36"/>
    <p:sldLayoutId id="2147483805" r:id="rId37"/>
    <p:sldLayoutId id="2147483806" r:id="rId38"/>
    <p:sldLayoutId id="2147483807" r:id="rId39"/>
    <p:sldLayoutId id="2147483808" r:id="rId40"/>
    <p:sldLayoutId id="2147483809" r:id="rId41"/>
    <p:sldLayoutId id="2147483810" r:id="rId42"/>
    <p:sldLayoutId id="2147483811" r:id="rId43"/>
    <p:sldLayoutId id="2147483812" r:id="rId44"/>
    <p:sldLayoutId id="2147483813" r:id="rId45"/>
    <p:sldLayoutId id="2147483814" r:id="rId46"/>
    <p:sldLayoutId id="2147483815" r:id="rId47"/>
    <p:sldLayoutId id="2147483816" r:id="rId48"/>
    <p:sldLayoutId id="2147483817" r:id="rId49"/>
    <p:sldLayoutId id="2147483818" r:id="rId50"/>
    <p:sldLayoutId id="2147483819" r:id="rId51"/>
    <p:sldLayoutId id="2147483820" r:id="rId52"/>
    <p:sldLayoutId id="2147483821" r:id="rId53"/>
    <p:sldLayoutId id="2147483822" r:id="rId54"/>
    <p:sldLayoutId id="2147483823" r:id="rId55"/>
    <p:sldLayoutId id="2147483824" r:id="rId56"/>
    <p:sldLayoutId id="2147483825" r:id="rId57"/>
    <p:sldLayoutId id="2147483826" r:id="rId58"/>
    <p:sldLayoutId id="2147483827" r:id="rId59"/>
    <p:sldLayoutId id="2147483828" r:id="rId60"/>
    <p:sldLayoutId id="2147483829" r:id="rId61"/>
    <p:sldLayoutId id="2147483830" r:id="rId62"/>
    <p:sldLayoutId id="2147483831" r:id="rId63"/>
    <p:sldLayoutId id="2147483832" r:id="rId64"/>
    <p:sldLayoutId id="2147483833" r:id="rId65"/>
    <p:sldLayoutId id="2147483834" r:id="rId66"/>
    <p:sldLayoutId id="2147483835" r:id="rId67"/>
    <p:sldLayoutId id="2147483836" r:id="rId68"/>
    <p:sldLayoutId id="2147483837" r:id="rId69"/>
    <p:sldLayoutId id="2147483838" r:id="rId70"/>
    <p:sldLayoutId id="2147483839" r:id="rId71"/>
    <p:sldLayoutId id="2147483840" r:id="rId72"/>
    <p:sldLayoutId id="2147483841" r:id="rId73"/>
    <p:sldLayoutId id="2147483842" r:id="rId74"/>
    <p:sldLayoutId id="2147483843" r:id="rId75"/>
    <p:sldLayoutId id="2147483844" r:id="rId76"/>
    <p:sldLayoutId id="2147483845" r:id="rId77"/>
    <p:sldLayoutId id="2147483846" r:id="rId78"/>
    <p:sldLayoutId id="2147483847" r:id="rId79"/>
    <p:sldLayoutId id="2147483848" r:id="rId80"/>
    <p:sldLayoutId id="2147483849" r:id="rId81"/>
    <p:sldLayoutId id="2147483850" r:id="rId82"/>
    <p:sldLayoutId id="2147483851" r:id="rId83"/>
    <p:sldLayoutId id="2147483852" r:id="rId84"/>
    <p:sldLayoutId id="2147483853" r:id="rId85"/>
    <p:sldLayoutId id="2147483854" r:id="rId86"/>
    <p:sldLayoutId id="2147483855" r:id="rId87"/>
    <p:sldLayoutId id="2147483856" r:id="rId88"/>
    <p:sldLayoutId id="2147483857" r:id="rId89"/>
    <p:sldLayoutId id="2147483858" r:id="rId90"/>
    <p:sldLayoutId id="2147483859" r:id="rId91"/>
    <p:sldLayoutId id="2147483860" r:id="rId92"/>
    <p:sldLayoutId id="2147483861" r:id="rId93"/>
    <p:sldLayoutId id="2147483862" r:id="rId94"/>
    <p:sldLayoutId id="2147483863" r:id="rId95"/>
    <p:sldLayoutId id="2147483864" r:id="rId96"/>
    <p:sldLayoutId id="2147483865" r:id="rId97"/>
    <p:sldLayoutId id="2147483866" r:id="rId98"/>
    <p:sldLayoutId id="2147483867" r:id="rId99"/>
    <p:sldLayoutId id="2147483868" r:id="rId100"/>
    <p:sldLayoutId id="2147483869" r:id="rId101"/>
    <p:sldLayoutId id="2147483870" r:id="rId102"/>
    <p:sldLayoutId id="2147483871" r:id="rId103"/>
    <p:sldLayoutId id="2147483872" r:id="rId104"/>
    <p:sldLayoutId id="2147483873" r:id="rId105"/>
    <p:sldLayoutId id="2147483874" r:id="rId106"/>
    <p:sldLayoutId id="2147483875" r:id="rId107"/>
    <p:sldLayoutId id="2147483876" r:id="rId108"/>
    <p:sldLayoutId id="2147483877" r:id="rId109"/>
    <p:sldLayoutId id="2147483878" r:id="rId110"/>
    <p:sldLayoutId id="2147483879" r:id="rId111"/>
    <p:sldLayoutId id="2147483880" r:id="rId112"/>
    <p:sldLayoutId id="2147483881" r:id="rId113"/>
    <p:sldLayoutId id="2147483882" r:id="rId114"/>
    <p:sldLayoutId id="2147483883" r:id="rId115"/>
    <p:sldLayoutId id="2147483884" r:id="rId116"/>
    <p:sldLayoutId id="2147483885" r:id="rId117"/>
    <p:sldLayoutId id="2147483886" r:id="rId118"/>
    <p:sldLayoutId id="2147483887" r:id="rId119"/>
    <p:sldLayoutId id="2147483888" r:id="rId120"/>
    <p:sldLayoutId id="2147483889" r:id="rId121"/>
    <p:sldLayoutId id="2147483890" r:id="rId122"/>
    <p:sldLayoutId id="2147483891" r:id="rId123"/>
    <p:sldLayoutId id="2147483892" r:id="rId124"/>
    <p:sldLayoutId id="2147483893" r:id="rId125"/>
    <p:sldLayoutId id="2147483894" r:id="rId126"/>
    <p:sldLayoutId id="2147483895" r:id="rId127"/>
    <p:sldLayoutId id="2147483896" r:id="rId128"/>
    <p:sldLayoutId id="2147483897" r:id="rId129"/>
    <p:sldLayoutId id="2147483898" r:id="rId130"/>
    <p:sldLayoutId id="2147483899" r:id="rId131"/>
    <p:sldLayoutId id="2147483900" r:id="rId132"/>
    <p:sldLayoutId id="2147483901" r:id="rId133"/>
    <p:sldLayoutId id="2147483902" r:id="rId134"/>
    <p:sldLayoutId id="2147483903" r:id="rId135"/>
    <p:sldLayoutId id="2147483904" r:id="rId136"/>
    <p:sldLayoutId id="2147483905" r:id="rId137"/>
    <p:sldLayoutId id="2147483906" r:id="rId138"/>
    <p:sldLayoutId id="2147483907" r:id="rId139"/>
    <p:sldLayoutId id="2147483908" r:id="rId140"/>
    <p:sldLayoutId id="2147483909" r:id="rId141"/>
    <p:sldLayoutId id="2147483910" r:id="rId142"/>
    <p:sldLayoutId id="2147483911" r:id="rId143"/>
    <p:sldLayoutId id="2147483912" r:id="rId144"/>
    <p:sldLayoutId id="2147483913" r:id="rId145"/>
    <p:sldLayoutId id="2147483914" r:id="rId146"/>
    <p:sldLayoutId id="2147483915" r:id="rId147"/>
    <p:sldLayoutId id="2147483916" r:id="rId148"/>
    <p:sldLayoutId id="2147483917" r:id="rId149"/>
    <p:sldLayoutId id="2147483918" r:id="rId150"/>
    <p:sldLayoutId id="2147483919" r:id="rId151"/>
    <p:sldLayoutId id="2147483920" r:id="rId152"/>
    <p:sldLayoutId id="2147483921" r:id="rId15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9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06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9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7" indent="-172798" algn="l" defTabSz="91439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94" indent="-165598" algn="l" defTabSz="91439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9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kern="120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9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3" indent="-152398" algn="l" defTabSz="91439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206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9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9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206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1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5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1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48FD3C-19E1-FEFC-D361-34D434AF8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31A6B9FE-EAA6-FE8F-EA05-158A8AE0FA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4412512"/>
            <a:ext cx="5331726" cy="1531088"/>
          </a:xfrm>
        </p:spPr>
        <p:txBody>
          <a:bodyPr>
            <a:normAutofit/>
          </a:bodyPr>
          <a:lstStyle/>
          <a:p>
            <a:r>
              <a:rPr lang="en-US" b="1" dirty="0"/>
              <a:t>Dr  Janet Diaz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70CEB9-95E0-B75A-D552-13B096256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453225"/>
            <a:ext cx="5331726" cy="3448924"/>
          </a:xfrm>
        </p:spPr>
        <p:txBody>
          <a:bodyPr>
            <a:normAutofit/>
          </a:bodyPr>
          <a:lstStyle/>
          <a:p>
            <a:r>
              <a:rPr lang="en-US" dirty="0"/>
              <a:t>The 2018–2019 Ebola outbreak in North Kivu, the Democratic Republic of the Con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86710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70DF2-B67A-3229-8B8D-C08C63797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4624EB-DFC0-1FC7-98DA-1E2C8075CD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9545" y="1521230"/>
            <a:ext cx="3127413" cy="4156556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sz="2400" dirty="0">
                <a:ea typeface="Calibri Light"/>
                <a:cs typeface="Calibri Light"/>
              </a:rPr>
              <a:t>Ct at admission was significantly lower among patients who </a:t>
            </a:r>
            <a:r>
              <a:rPr lang="en-US" sz="2400" b="1" dirty="0">
                <a:solidFill>
                  <a:srgbClr val="BF6169"/>
                </a:solidFill>
                <a:ea typeface="Calibri Light"/>
                <a:cs typeface="Calibri Light"/>
              </a:rPr>
              <a:t>deceased</a:t>
            </a:r>
            <a:r>
              <a:rPr lang="en-US" sz="2400" dirty="0">
                <a:ea typeface="Calibri Light"/>
                <a:cs typeface="Calibri Light"/>
              </a:rPr>
              <a:t> (median </a:t>
            </a:r>
            <a:r>
              <a:rPr lang="en-US" sz="2400" b="1" dirty="0">
                <a:solidFill>
                  <a:srgbClr val="BF6169"/>
                </a:solidFill>
                <a:ea typeface="Calibri Light"/>
                <a:cs typeface="Calibri Light"/>
              </a:rPr>
              <a:t>22.2</a:t>
            </a:r>
            <a:r>
              <a:rPr lang="en-US" sz="2400" dirty="0">
                <a:ea typeface="Calibri Light"/>
                <a:cs typeface="Calibri Light"/>
              </a:rPr>
              <a:t>) as compared to those who </a:t>
            </a:r>
            <a:r>
              <a:rPr lang="en-US" sz="2400" b="1" dirty="0">
                <a:solidFill>
                  <a:srgbClr val="5E81AD"/>
                </a:solidFill>
                <a:ea typeface="Calibri Light"/>
                <a:cs typeface="Calibri Light"/>
              </a:rPr>
              <a:t>recovered</a:t>
            </a:r>
            <a:r>
              <a:rPr lang="en-US" sz="2400" dirty="0">
                <a:ea typeface="Calibri Light"/>
                <a:cs typeface="Calibri Light"/>
              </a:rPr>
              <a:t> ( median </a:t>
            </a:r>
            <a:r>
              <a:rPr lang="en-US" sz="2400" b="1" dirty="0">
                <a:solidFill>
                  <a:srgbClr val="5E81AD"/>
                </a:solidFill>
                <a:ea typeface="Calibri Light"/>
                <a:cs typeface="Calibri Light"/>
              </a:rPr>
              <a:t>31.1</a:t>
            </a:r>
            <a:r>
              <a:rPr lang="en-US" sz="2400" dirty="0">
                <a:ea typeface="Calibri Light"/>
                <a:cs typeface="Calibri Light"/>
              </a:rPr>
              <a:t>)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3F3AD6-DE66-A050-1591-93C7A7E57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Outcomes and Initial Ct 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6" name="Picture 5" descr="A screen shot of a graph&#10;&#10;AI-generated content may be incorrect.">
            <a:extLst>
              <a:ext uri="{FF2B5EF4-FFF2-40B4-BE49-F238E27FC236}">
                <a16:creationId xmlns:a16="http://schemas.microsoft.com/office/drawing/2014/main" id="{17505E9B-143E-F6FE-9566-3BAC447BAA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"/>
          <a:stretch>
            <a:fillRect/>
          </a:stretch>
        </p:blipFill>
        <p:spPr>
          <a:xfrm>
            <a:off x="232475" y="1350335"/>
            <a:ext cx="746261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121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F1E198-7EA5-8732-109C-10F54C7F86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D4F072-A94E-5EF0-8C7D-C4DFE0052C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9545" y="1521230"/>
            <a:ext cx="3127413" cy="4156556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sz="2400" dirty="0">
                <a:ea typeface="Calibri Light"/>
                <a:cs typeface="Calibri Light"/>
              </a:rPr>
              <a:t>@</a:t>
            </a:r>
            <a:r>
              <a:rPr lang="en-US" sz="2400" dirty="0" err="1">
                <a:ea typeface="Calibri Light"/>
                <a:cs typeface="Calibri Light"/>
              </a:rPr>
              <a:t>jamie</a:t>
            </a:r>
            <a:r>
              <a:rPr lang="en-US" sz="2400" dirty="0">
                <a:ea typeface="Calibri Light"/>
                <a:cs typeface="Calibri Light"/>
              </a:rPr>
              <a:t>: Add a context comment?</a:t>
            </a:r>
          </a:p>
          <a:p>
            <a:pPr fontAlgn="base"/>
            <a:r>
              <a:rPr lang="en-US" sz="2400" dirty="0">
                <a:ea typeface="Calibri Light"/>
                <a:cs typeface="Calibri Light"/>
              </a:rPr>
              <a:t>N=8 for </a:t>
            </a:r>
            <a:r>
              <a:rPr lang="en-US" sz="2400" dirty="0" err="1">
                <a:ea typeface="Calibri Light"/>
                <a:cs typeface="Calibri Light"/>
              </a:rPr>
              <a:t>Zmap</a:t>
            </a:r>
            <a:r>
              <a:rPr lang="en-US" sz="2400" dirty="0">
                <a:ea typeface="Calibri Light"/>
                <a:cs typeface="Calibri Light"/>
              </a:rPr>
              <a:t> (to discuss in model results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ADD94B-3FCC-22F7-0F25-00C7FA452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Treatments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5" name="Picture 4" descr="A pie chart with different colored circles&#10;&#10;AI-generated content may be incorrect.">
            <a:extLst>
              <a:ext uri="{FF2B5EF4-FFF2-40B4-BE49-F238E27FC236}">
                <a16:creationId xmlns:a16="http://schemas.microsoft.com/office/drawing/2014/main" id="{3ADDF7DF-FDFE-B863-D558-AB0C8AE77F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8" r="10245" b="6553"/>
          <a:stretch>
            <a:fillRect/>
          </a:stretch>
        </p:blipFill>
        <p:spPr>
          <a:xfrm>
            <a:off x="556054" y="1397663"/>
            <a:ext cx="7451124" cy="469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756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BCCCE-E52C-47F4-7715-DE7BE30B20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EA8FC5-C6BE-D02D-F7D9-D2E2ABD2C1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9545" y="1521229"/>
            <a:ext cx="3446390" cy="5007161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sz="2400" dirty="0"/>
              <a:t>The Directed Acyclic Graphs (DAG) illustrates hypothesized causal relationships underlying EVD pathophysiology and clinical outcomes.</a:t>
            </a:r>
          </a:p>
          <a:p>
            <a:r>
              <a:rPr lang="en-US" sz="2400" dirty="0"/>
              <a:t>It served as a conceptual framework to guide, though not restrict, the selection of key variables included in the statistical model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0A6E7-3E5E-4E58-2EE6-DC4B82096B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Calibri Light"/>
                <a:cs typeface="Calibri Light"/>
              </a:rPr>
              <a:t>Predictors of EVD Outcomes and Complications </a:t>
            </a:r>
          </a:p>
        </p:txBody>
      </p:sp>
      <p:pic>
        <p:nvPicPr>
          <p:cNvPr id="6" name="Picture 5" descr="A diagram of a disease&#10;&#10;AI-generated content may be incorrect.">
            <a:extLst>
              <a:ext uri="{FF2B5EF4-FFF2-40B4-BE49-F238E27FC236}">
                <a16:creationId xmlns:a16="http://schemas.microsoft.com/office/drawing/2014/main" id="{4CF00142-6A1C-320A-2A59-2BF88D350F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75" y="1420341"/>
            <a:ext cx="7772400" cy="477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838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113EE8-956D-369E-ACB5-D70DC7DAB6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641690-22AF-462F-FEB1-798398E309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521229"/>
            <a:ext cx="5769935" cy="5007161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sz="2400" dirty="0"/>
              <a:t>Multivariable Poisson regression with robust standard errors was used to estimate adjusted risk ratios (</a:t>
            </a:r>
            <a:r>
              <a:rPr lang="en-US" sz="2400" dirty="0" err="1"/>
              <a:t>aRR</a:t>
            </a:r>
            <a:r>
              <a:rPr lang="en-US" sz="2400" dirty="0"/>
              <a:t>) and 95% confidence intervals.</a:t>
            </a:r>
          </a:p>
          <a:p>
            <a:pPr fontAlgn="base"/>
            <a:r>
              <a:rPr lang="en-US" sz="2400" dirty="0"/>
              <a:t>For </a:t>
            </a:r>
            <a:r>
              <a:rPr lang="en-US" sz="2400" b="1" dirty="0"/>
              <a:t>each 1 Ct increase at admission</a:t>
            </a:r>
            <a:r>
              <a:rPr lang="en-US" sz="2400" dirty="0"/>
              <a:t>, the </a:t>
            </a:r>
            <a:r>
              <a:rPr lang="en-US" sz="2400" b="1" dirty="0"/>
              <a:t>risk of death decreased by 14%</a:t>
            </a:r>
            <a:r>
              <a:rPr lang="en-US" sz="2400" dirty="0"/>
              <a:t> (RR 0.86).</a:t>
            </a:r>
          </a:p>
          <a:p>
            <a:pPr fontAlgn="base"/>
            <a:r>
              <a:rPr lang="en-US" sz="2400" dirty="0"/>
              <a:t>For </a:t>
            </a:r>
            <a:r>
              <a:rPr lang="en-US" sz="2400" b="1" dirty="0"/>
              <a:t>each day of delay at admission</a:t>
            </a:r>
            <a:r>
              <a:rPr lang="en-US" sz="2400" dirty="0"/>
              <a:t>, the </a:t>
            </a:r>
            <a:r>
              <a:rPr lang="en-US" sz="2400" b="1" dirty="0"/>
              <a:t>risk of death increases by 2%</a:t>
            </a:r>
            <a:r>
              <a:rPr lang="en-US" sz="2400" dirty="0"/>
              <a:t> (RR 1.02).</a:t>
            </a:r>
          </a:p>
          <a:p>
            <a:r>
              <a:rPr lang="en-US" sz="2400" dirty="0">
                <a:solidFill>
                  <a:srgbClr val="FF0000"/>
                </a:solidFill>
              </a:rPr>
              <a:t>@</a:t>
            </a:r>
            <a:r>
              <a:rPr lang="en-US" sz="2400" dirty="0" err="1">
                <a:solidFill>
                  <a:srgbClr val="FF0000"/>
                </a:solidFill>
              </a:rPr>
              <a:t>jamie</a:t>
            </a:r>
            <a:r>
              <a:rPr lang="en-US" sz="2400" dirty="0">
                <a:solidFill>
                  <a:srgbClr val="FF0000"/>
                </a:solidFill>
              </a:rPr>
              <a:t> note about dehydration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A83424-AD40-65D7-3E18-B8A56F99E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Calibri Light"/>
                <a:cs typeface="Calibri Light"/>
              </a:rPr>
              <a:t>Independent Predictors of EVD Outcome (Adjusted Risk Ratios) </a:t>
            </a:r>
          </a:p>
        </p:txBody>
      </p:sp>
      <p:pic>
        <p:nvPicPr>
          <p:cNvPr id="5" name="Picture 4" descr="A screenshot of a medical report&#10;&#10;AI-generated content may be incorrect.">
            <a:extLst>
              <a:ext uri="{FF2B5EF4-FFF2-40B4-BE49-F238E27FC236}">
                <a16:creationId xmlns:a16="http://schemas.microsoft.com/office/drawing/2014/main" id="{CEF89E64-3B95-D7BD-338B-3623A61123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807" y="1272746"/>
            <a:ext cx="4364336" cy="5255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67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713DBD-6139-7549-45D4-72E02864D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43156C-CF2E-7D06-E1A2-4F55956D0B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9545" y="1521229"/>
            <a:ext cx="3446390" cy="5007161"/>
          </a:xfr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sz="2400" dirty="0"/>
              <a:t>Adjusted hazard ratios (Weibull proportional hazards model). </a:t>
            </a:r>
          </a:p>
          <a:p>
            <a:pPr lvl="1"/>
            <a:r>
              <a:rPr lang="en-US" sz="2000" dirty="0"/>
              <a:t>HR &gt; 1 → shorter survival; </a:t>
            </a:r>
          </a:p>
          <a:p>
            <a:pPr lvl="1"/>
            <a:r>
              <a:rPr lang="en-US" sz="2000" dirty="0"/>
              <a:t>HR &lt; 1 → longer survival.</a:t>
            </a:r>
          </a:p>
          <a:p>
            <a:pPr marL="457200" lvl="1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C8C2B4-C276-6936-68D4-64E6A09CF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lative Effects of Covariates on Survival Time</a:t>
            </a:r>
          </a:p>
        </p:txBody>
      </p:sp>
      <p:pic>
        <p:nvPicPr>
          <p:cNvPr id="5" name="Picture 4" descr="A table of numbers and symbols&#10;&#10;AI-generated content may be incorrect.">
            <a:extLst>
              <a:ext uri="{FF2B5EF4-FFF2-40B4-BE49-F238E27FC236}">
                <a16:creationId xmlns:a16="http://schemas.microsoft.com/office/drawing/2014/main" id="{33140867-BBAF-9EBD-E322-574C8E7358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21" r="25776"/>
          <a:stretch>
            <a:fillRect/>
          </a:stretch>
        </p:blipFill>
        <p:spPr>
          <a:xfrm>
            <a:off x="681925" y="1280248"/>
            <a:ext cx="6181061" cy="54891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8CAC7F-01D4-C3A7-1271-2898F9BA15F1}"/>
              </a:ext>
            </a:extLst>
          </p:cNvPr>
          <p:cNvSpPr txBox="1"/>
          <p:nvPr/>
        </p:nvSpPr>
        <p:spPr>
          <a:xfrm>
            <a:off x="7442790" y="4125432"/>
            <a:ext cx="38489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@</a:t>
            </a:r>
            <a:r>
              <a:rPr lang="en-US" i="1" dirty="0" err="1">
                <a:solidFill>
                  <a:srgbClr val="FF0000"/>
                </a:solidFill>
              </a:rPr>
              <a:t>jamie</a:t>
            </a:r>
            <a:r>
              <a:rPr lang="en-US" i="1" dirty="0">
                <a:solidFill>
                  <a:srgbClr val="FF0000"/>
                </a:solidFill>
              </a:rPr>
              <a:t>: I cut the </a:t>
            </a:r>
            <a:r>
              <a:rPr lang="en-US" i="1" dirty="0" err="1">
                <a:solidFill>
                  <a:srgbClr val="FF0000"/>
                </a:solidFill>
              </a:rPr>
              <a:t>pvalues</a:t>
            </a:r>
            <a:r>
              <a:rPr lang="en-US" i="1" dirty="0">
                <a:solidFill>
                  <a:srgbClr val="FF0000"/>
                </a:solidFill>
              </a:rPr>
              <a:t>. </a:t>
            </a:r>
          </a:p>
          <a:p>
            <a:r>
              <a:rPr lang="en-US" i="1" dirty="0">
                <a:solidFill>
                  <a:srgbClr val="FF0000"/>
                </a:solidFill>
              </a:rPr>
              <a:t>Add one sentence on </a:t>
            </a:r>
            <a:r>
              <a:rPr lang="en-US" i="1" dirty="0" err="1">
                <a:solidFill>
                  <a:srgbClr val="FF0000"/>
                </a:solidFill>
              </a:rPr>
              <a:t>Zmapp</a:t>
            </a:r>
            <a:r>
              <a:rPr lang="en-US" i="1" dirty="0">
                <a:solidFill>
                  <a:srgbClr val="FF0000"/>
                </a:solidFill>
              </a:rPr>
              <a:t> (n=8)?</a:t>
            </a:r>
            <a:br>
              <a:rPr lang="en-US" i="1" dirty="0">
                <a:solidFill>
                  <a:srgbClr val="FF0000"/>
                </a:solidFill>
              </a:rPr>
            </a:br>
            <a:endParaRPr lang="en-US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642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C7C9B55-8510-B4F0-8878-D4EECC45FB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52449E-3029-5A0D-BB85-A998C6B57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37337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F5DE6C-785D-A63F-39C8-CF421E3CF0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3CEB3B-F918-B68F-F372-C653669A48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In 2018-2019, WHO implemented a standardized data collection system, using </a:t>
            </a:r>
            <a:r>
              <a:rPr lang="en-US" dirty="0" err="1"/>
              <a:t>REDCap</a:t>
            </a:r>
            <a:r>
              <a:rPr lang="en-US" dirty="0"/>
              <a:t>, to capture clinical and epidemiological data on individual Ebola Virus Disease (EVD) cases.</a:t>
            </a:r>
          </a:p>
          <a:p>
            <a:r>
              <a:rPr lang="en-US" dirty="0"/>
              <a:t>The objective was to systematically describe case characteristics, clinical presentation, and outcomes across affected regions.</a:t>
            </a:r>
          </a:p>
          <a:p>
            <a:r>
              <a:rPr lang="en-US" dirty="0"/>
              <a:t>This system supports timely analysis and harmonization of EVD data across multiple outbreaks and countries.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rgbClr val="FF0000"/>
                </a:solidFill>
              </a:rPr>
              <a:t>I don’t have much – we can ask Janet to add one slide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24E496-EB07-731D-D10C-B187F4E34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Background</a:t>
            </a:r>
            <a:endParaRPr lang="en-US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583234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4AF62-6E30-3E10-9358-FF90D41D4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F4569A-DBA4-235D-CF16-CE312C53EF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4372980" cy="4377511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dirty="0"/>
              <a:t>A total of </a:t>
            </a:r>
            <a:r>
              <a:rPr lang="en-US" b="1" dirty="0"/>
              <a:t>463 confirmed cases</a:t>
            </a:r>
            <a:r>
              <a:rPr lang="en-US" dirty="0"/>
              <a:t> admitted from 2018-08-05 to 2019-07-15 were entered in the database.</a:t>
            </a:r>
          </a:p>
          <a:p>
            <a:pPr fontAlgn="base"/>
            <a:r>
              <a:rPr lang="en-US" b="1" dirty="0"/>
              <a:t>56% women </a:t>
            </a:r>
            <a:r>
              <a:rPr lang="en-US" dirty="0"/>
              <a:t>and </a:t>
            </a:r>
            <a:r>
              <a:rPr lang="en-US" b="1" dirty="0"/>
              <a:t>2% children ≤5 years </a:t>
            </a:r>
            <a:r>
              <a:rPr lang="en-US" dirty="0"/>
              <a:t>.</a:t>
            </a:r>
          </a:p>
          <a:p>
            <a:pPr fontAlgn="base"/>
            <a:r>
              <a:rPr lang="en-US" b="1" dirty="0"/>
              <a:t>150 confirmed deaths</a:t>
            </a:r>
            <a:r>
              <a:rPr lang="en-US" dirty="0"/>
              <a:t> reported for an average CFR of </a:t>
            </a:r>
            <a:r>
              <a:rPr lang="en-US" b="1" dirty="0"/>
              <a:t>32%</a:t>
            </a:r>
            <a:r>
              <a:rPr lang="en-US" dirty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792972-E94E-025A-96DD-51E0725C2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Cohort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5" name="Picture 4" descr="A graph of a number of cases&#10;&#10;AI-generated content may be incorrect.">
            <a:extLst>
              <a:ext uri="{FF2B5EF4-FFF2-40B4-BE49-F238E27FC236}">
                <a16:creationId xmlns:a16="http://schemas.microsoft.com/office/drawing/2014/main" id="{9D4FF3BB-17DA-C521-0F51-52E4F59D6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84995"/>
            <a:ext cx="777240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496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15D53-2714-ADA1-062C-2B9D0EFE6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2664644-EFD7-606A-C573-B10F546A9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4372980" cy="4377511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dirty="0"/>
              <a:t>A total of </a:t>
            </a:r>
            <a:r>
              <a:rPr lang="en-US" b="1" dirty="0"/>
              <a:t>463 confirmed cases</a:t>
            </a:r>
            <a:r>
              <a:rPr lang="en-US" dirty="0"/>
              <a:t> admitted from 2018-08-05 to 2019-07-15 were entered in the database.</a:t>
            </a:r>
          </a:p>
          <a:p>
            <a:pPr fontAlgn="base"/>
            <a:r>
              <a:rPr lang="en-US" b="1" dirty="0"/>
              <a:t>56% women </a:t>
            </a:r>
            <a:r>
              <a:rPr lang="en-US" dirty="0"/>
              <a:t>and </a:t>
            </a:r>
            <a:r>
              <a:rPr lang="en-US" b="1" dirty="0"/>
              <a:t>2% children ≤5 years </a:t>
            </a:r>
            <a:r>
              <a:rPr lang="en-US" dirty="0"/>
              <a:t>.</a:t>
            </a:r>
          </a:p>
          <a:p>
            <a:pPr fontAlgn="base"/>
            <a:r>
              <a:rPr lang="en-US" b="1" dirty="0"/>
              <a:t>150 confirmed deaths</a:t>
            </a:r>
            <a:r>
              <a:rPr lang="en-US" dirty="0"/>
              <a:t> reported for an average CFR of </a:t>
            </a:r>
            <a:r>
              <a:rPr lang="en-US" b="1" dirty="0"/>
              <a:t>32%</a:t>
            </a:r>
            <a:r>
              <a:rPr lang="en-US" dirty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CD236C-442B-1BD6-C6DF-E33C70D26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Cohort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6" name="Picture 5" descr="A pie chart with different colored sections&#10;&#10;AI-generated content may be incorrect.">
            <a:extLst>
              <a:ext uri="{FF2B5EF4-FFF2-40B4-BE49-F238E27FC236}">
                <a16:creationId xmlns:a16="http://schemas.microsoft.com/office/drawing/2014/main" id="{E85F349F-5E79-3A52-6C2F-C5385F6138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632460"/>
            <a:ext cx="777240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6657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95351B-E3F8-4A09-A0D4-E144130D04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CF70B9-13B9-75A6-CA9F-67BF48A75D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0730100" cy="4377511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258C95-C1B6-FEFE-3361-A8F049C301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pidemic Curve by Sex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5" name="Picture 4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664727B9-E630-87C2-0114-381761F27A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95" y="2303898"/>
            <a:ext cx="10730100" cy="4470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010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83CB0-D98F-08FF-180A-717373273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24835C-A283-DB9C-D24C-8B86EDC8F7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10730100" cy="4377511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b="1" dirty="0">
                <a:ea typeface="Calibri Light"/>
                <a:cs typeface="Calibri Light"/>
              </a:rPr>
              <a:t>Symptoms</a:t>
            </a:r>
            <a:r>
              <a:rPr lang="en-US" b="1" dirty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666F4D-A097-FBCF-873E-4A700BE70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Cases Description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6" name="Picture 5" descr="A graph of a disease&#10;&#10;AI-generated content may be incorrect.">
            <a:extLst>
              <a:ext uri="{FF2B5EF4-FFF2-40B4-BE49-F238E27FC236}">
                <a16:creationId xmlns:a16="http://schemas.microsoft.com/office/drawing/2014/main" id="{085D5403-0687-1205-2E78-58DE6D9AA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2"/>
          <a:stretch>
            <a:fillRect/>
          </a:stretch>
        </p:blipFill>
        <p:spPr>
          <a:xfrm>
            <a:off x="4667641" y="1329092"/>
            <a:ext cx="7328047" cy="551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8492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E9EBA8-AE92-0254-7918-A90760A7F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6A48E18-BDC8-D5DC-5EED-FAF4D1963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3362887" cy="4377511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b="1" dirty="0">
                <a:ea typeface="Calibri Light"/>
                <a:cs typeface="Calibri Light"/>
              </a:rPr>
              <a:t>Clinical Signs</a:t>
            </a:r>
            <a:r>
              <a:rPr lang="en-US" b="1" dirty="0"/>
              <a:t>.</a:t>
            </a:r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r>
              <a:rPr lang="en-US" sz="2400" i="1" dirty="0"/>
              <a:t>Note: </a:t>
            </a:r>
            <a:r>
              <a:rPr lang="en-US" sz="2400" b="1" i="1" dirty="0"/>
              <a:t>Bleeding</a:t>
            </a:r>
            <a:r>
              <a:rPr lang="en-US" sz="2400" i="1" dirty="0"/>
              <a:t> (any site) was reported in 22 (14.7%) </a:t>
            </a:r>
            <a:r>
              <a:rPr lang="en-US" sz="2400" i="1" dirty="0">
                <a:ea typeface="Calibri Light"/>
                <a:cs typeface="Calibri Light"/>
              </a:rPr>
              <a:t>patients who </a:t>
            </a:r>
            <a:r>
              <a:rPr lang="en-US" sz="2400" b="1" i="1" dirty="0">
                <a:solidFill>
                  <a:srgbClr val="BF6169"/>
                </a:solidFill>
                <a:ea typeface="Calibri Light"/>
                <a:cs typeface="Calibri Light"/>
              </a:rPr>
              <a:t>deceased</a:t>
            </a:r>
            <a:r>
              <a:rPr lang="en-US" sz="2400" i="1" dirty="0">
                <a:ea typeface="Calibri Light"/>
                <a:cs typeface="Calibri Light"/>
              </a:rPr>
              <a:t> and 15 (5.8%) of those who </a:t>
            </a:r>
            <a:r>
              <a:rPr lang="en-US" sz="2400" b="1" i="1" dirty="0">
                <a:solidFill>
                  <a:srgbClr val="5E81AD"/>
                </a:solidFill>
                <a:ea typeface="Calibri Light"/>
                <a:cs typeface="Calibri Light"/>
              </a:rPr>
              <a:t>recovered.</a:t>
            </a:r>
            <a:endParaRPr lang="en-US" sz="2400" i="1" dirty="0"/>
          </a:p>
          <a:p>
            <a:pPr fontAlgn="base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428C6D-0ECC-F71A-4A53-ACDC9806C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Cases Description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5" name="Picture 4" descr="A graph of blood vessels&#10;&#10;AI-generated content may be incorrect.">
            <a:extLst>
              <a:ext uri="{FF2B5EF4-FFF2-40B4-BE49-F238E27FC236}">
                <a16:creationId xmlns:a16="http://schemas.microsoft.com/office/drawing/2014/main" id="{7CBBA2FE-744A-7282-E3F8-E6C4336796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7330" y="1269847"/>
            <a:ext cx="77724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317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8E5E57-5F2A-E9D1-1925-ADB9A268AF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50F30C-E027-07AF-8A42-A3B1DE3FF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262" y="1386805"/>
            <a:ext cx="4298552" cy="4854507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b="1" dirty="0">
                <a:ea typeface="Calibri Light"/>
                <a:cs typeface="Calibri Light"/>
              </a:rPr>
              <a:t>Complications</a:t>
            </a:r>
            <a:r>
              <a:rPr lang="en-US" b="1" dirty="0"/>
              <a:t>.</a:t>
            </a:r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  <a:p>
            <a:pPr fontAlgn="base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67DB49-42ED-FF2A-3222-7443F9DFD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Cases Description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7" name="Picture 6" descr="A graph with text and numbers&#10;&#10;AI-generated content may be incorrect.">
            <a:extLst>
              <a:ext uri="{FF2B5EF4-FFF2-40B4-BE49-F238E27FC236}">
                <a16:creationId xmlns:a16="http://schemas.microsoft.com/office/drawing/2014/main" id="{EAA88B2B-D690-5642-16FB-BEAD3BE140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2"/>
          <a:stretch>
            <a:fillRect/>
          </a:stretch>
        </p:blipFill>
        <p:spPr>
          <a:xfrm>
            <a:off x="3110502" y="1386805"/>
            <a:ext cx="8724548" cy="533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074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01A75-525B-C22C-52FE-A03347C195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7468A3-2D64-B539-87D5-6C1E1FB8A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04875" y="1556951"/>
            <a:ext cx="3734044" cy="4559013"/>
          </a:xfrm>
        </p:spPr>
        <p:txBody>
          <a:bodyPr vert="horz" lIns="72000" tIns="36000" rIns="72000" bIns="36000" rtlCol="0" anchor="t">
            <a:noAutofit/>
          </a:bodyPr>
          <a:lstStyle/>
          <a:p>
            <a:pPr fontAlgn="base"/>
            <a:r>
              <a:rPr lang="en-US" sz="2400" dirty="0">
                <a:ea typeface="Calibri Light"/>
                <a:cs typeface="Calibri Light"/>
              </a:rPr>
              <a:t>Patients who </a:t>
            </a:r>
            <a:r>
              <a:rPr lang="en-US" sz="2400" b="1" dirty="0">
                <a:solidFill>
                  <a:srgbClr val="BF6169"/>
                </a:solidFill>
                <a:ea typeface="Calibri Light"/>
                <a:cs typeface="Calibri Light"/>
              </a:rPr>
              <a:t>deceased</a:t>
            </a:r>
            <a:r>
              <a:rPr lang="en-US" sz="2400" dirty="0">
                <a:ea typeface="Calibri Light"/>
                <a:cs typeface="Calibri Light"/>
              </a:rPr>
              <a:t>  had a significantly longer delay (median </a:t>
            </a:r>
            <a:r>
              <a:rPr lang="en-US" sz="2400" b="1" dirty="0">
                <a:solidFill>
                  <a:srgbClr val="BF6169"/>
                </a:solidFill>
                <a:ea typeface="Calibri Light"/>
                <a:cs typeface="Calibri Light"/>
              </a:rPr>
              <a:t>5 days </a:t>
            </a:r>
            <a:r>
              <a:rPr lang="en-US" sz="2400" dirty="0">
                <a:ea typeface="Calibri Light"/>
                <a:cs typeface="Calibri Light"/>
              </a:rPr>
              <a:t>– IQR 4.5) as compared to those who </a:t>
            </a:r>
            <a:r>
              <a:rPr lang="en-US" sz="2400" b="1" dirty="0">
                <a:solidFill>
                  <a:srgbClr val="5E81AD"/>
                </a:solidFill>
                <a:ea typeface="Calibri Light"/>
                <a:cs typeface="Calibri Light"/>
              </a:rPr>
              <a:t>recovered</a:t>
            </a:r>
            <a:r>
              <a:rPr lang="en-US" sz="2400" dirty="0">
                <a:ea typeface="Calibri Light"/>
                <a:cs typeface="Calibri Light"/>
              </a:rPr>
              <a:t> ( median </a:t>
            </a:r>
            <a:r>
              <a:rPr lang="en-US" sz="2400" b="1" dirty="0">
                <a:solidFill>
                  <a:srgbClr val="5E81AD"/>
                </a:solidFill>
                <a:ea typeface="Calibri Light"/>
                <a:cs typeface="Calibri Light"/>
              </a:rPr>
              <a:t>3 days </a:t>
            </a:r>
            <a:r>
              <a:rPr lang="en-US" sz="2400" dirty="0">
                <a:ea typeface="Calibri Light"/>
                <a:cs typeface="Calibri Light"/>
              </a:rPr>
              <a:t>– IQR 4) </a:t>
            </a:r>
          </a:p>
          <a:p>
            <a:pPr fontAlgn="base"/>
            <a:r>
              <a:rPr lang="en-US" sz="2000" i="1" dirty="0">
                <a:ea typeface="Calibri Light"/>
                <a:cs typeface="Calibri Light"/>
              </a:rPr>
              <a:t>Note: admission delay represents the number of days from onset to admission to the hospital.</a:t>
            </a:r>
            <a:endParaRPr lang="en-US" sz="2000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CE645B-B8FE-3B53-0C25-BD89FA2DF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ea typeface="Calibri Light"/>
                <a:cs typeface="Calibri Light"/>
              </a:rPr>
              <a:t>Outcomes and Admission Delay</a:t>
            </a:r>
            <a:endParaRPr lang="en-US" dirty="0">
              <a:latin typeface="Calibri Light"/>
              <a:cs typeface="Calibri Light"/>
            </a:endParaRPr>
          </a:p>
        </p:txBody>
      </p:sp>
      <p:pic>
        <p:nvPicPr>
          <p:cNvPr id="7" name="Picture 6" descr="A graph of a number of people&#10;&#10;AI-generated content may be incorrect.">
            <a:extLst>
              <a:ext uri="{FF2B5EF4-FFF2-40B4-BE49-F238E27FC236}">
                <a16:creationId xmlns:a16="http://schemas.microsoft.com/office/drawing/2014/main" id="{04584DAC-07A1-C7B2-B311-6A9EF48CA7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75" y="1443442"/>
            <a:ext cx="7772400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2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C6A357D-D333-48B7-83FE-FEBD8A874837}" vid="{789E227E-8B79-4519-AE14-F7FD8E57E535}"/>
    </a:ext>
  </a:extLst>
</a:theme>
</file>

<file path=ppt/theme/theme2.xml><?xml version="1.0" encoding="utf-8"?>
<a:theme xmlns:a="http://schemas.openxmlformats.org/drawingml/2006/main" name="World Health Organization HEPR Grid 16:9 - 18471">
  <a:themeElements>
    <a:clrScheme name="who">
      <a:dk1>
        <a:srgbClr val="262626"/>
      </a:dk1>
      <a:lt1>
        <a:sysClr val="window" lastClr="FFFFFF"/>
      </a:lt1>
      <a:dk2>
        <a:srgbClr val="002060"/>
      </a:dk2>
      <a:lt2>
        <a:srgbClr val="F2F2F2"/>
      </a:lt2>
      <a:accent1>
        <a:srgbClr val="000A1E"/>
      </a:accent1>
      <a:accent2>
        <a:srgbClr val="00133A"/>
      </a:accent2>
      <a:accent3>
        <a:srgbClr val="93CCDD"/>
      </a:accent3>
      <a:accent4>
        <a:srgbClr val="0070C0"/>
      </a:accent4>
      <a:accent5>
        <a:srgbClr val="414145"/>
      </a:accent5>
      <a:accent6>
        <a:srgbClr val="29BA74"/>
      </a:accent6>
      <a:hlink>
        <a:srgbClr val="30859C"/>
      </a:hlink>
      <a:folHlink>
        <a:srgbClr val="30C1D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060"/>
        </a:solidFill>
        <a:ln w="9525" cap="rnd" cmpd="sng" algn="ctr">
          <a:solidFill>
            <a:srgbClr val="00206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d1cfde-dc9f-4e1b-a2b0-3af2c217950b">
      <Terms xmlns="http://schemas.microsoft.com/office/infopath/2007/PartnerControls"/>
    </lcf76f155ced4ddcb4097134ff3c332f>
    <TaxCatchAll xmlns="5f3c8fab-e837-4e91-b3e4-7f9e038d9e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32682F4F9C1D44A6C609BC469A6292" ma:contentTypeVersion="19" ma:contentTypeDescription="Crée un document." ma:contentTypeScope="" ma:versionID="1b522abb11961db7c4be96e0cb64347b">
  <xsd:schema xmlns:xsd="http://www.w3.org/2001/XMLSchema" xmlns:xs="http://www.w3.org/2001/XMLSchema" xmlns:p="http://schemas.microsoft.com/office/2006/metadata/properties" xmlns:ns2="7cd1cfde-dc9f-4e1b-a2b0-3af2c217950b" xmlns:ns3="5f3c8fab-e837-4e91-b3e4-7f9e038d9ed0" targetNamespace="http://schemas.microsoft.com/office/2006/metadata/properties" ma:root="true" ma:fieldsID="7a9a6d0dcd851855d51c8fe244d9d5c2" ns2:_="" ns3:_="">
    <xsd:import namespace="7cd1cfde-dc9f-4e1b-a2b0-3af2c217950b"/>
    <xsd:import namespace="5f3c8fab-e837-4e91-b3e4-7f9e038d9e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d1cfde-dc9f-4e1b-a2b0-3af2c21795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aa4eac88-8ae6-4a96-90c7-97bc93c844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3c8fab-e837-4e91-b3e4-7f9e038d9ed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accf4b4-01bd-4738-b8a2-2aff6d32cbd3}" ma:internalName="TaxCatchAll" ma:showField="CatchAllData" ma:web="5f3c8fab-e837-4e91-b3e4-7f9e038d9e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8E422F-D1D6-47C1-BDF2-01E9703E69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C9F7C2-3531-4AB6-BD3B-78258BF86E83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5f3c8fab-e837-4e91-b3e4-7f9e038d9ed0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7cd1cfde-dc9f-4e1b-a2b0-3af2c217950b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417BF6F-7DFE-4573-A2CE-4F51ACC541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d1cfde-dc9f-4e1b-a2b0-3af2c217950b"/>
    <ds:schemaRef ds:uri="5f3c8fab-e837-4e91-b3e4-7f9e038d9ed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1</TotalTime>
  <Words>512</Words>
  <Application>Microsoft Macintosh PowerPoint</Application>
  <PresentationFormat>Widescreen</PresentationFormat>
  <Paragraphs>69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Courier New</vt:lpstr>
      <vt:lpstr>Georgia</vt:lpstr>
      <vt:lpstr>Helvetica</vt:lpstr>
      <vt:lpstr>Lucida Grande</vt:lpstr>
      <vt:lpstr>Segoe UI</vt:lpstr>
      <vt:lpstr>Source Sans Pro</vt:lpstr>
      <vt:lpstr>Trebuchet MS</vt:lpstr>
      <vt:lpstr>Office Theme</vt:lpstr>
      <vt:lpstr>World Health Organization HEPR Grid 16:9 - 18471</vt:lpstr>
      <vt:lpstr>think-cell Slide</vt:lpstr>
      <vt:lpstr>The 2018–2019 Ebola outbreak in North Kivu, the Democratic Republic of the Congo</vt:lpstr>
      <vt:lpstr>Background</vt:lpstr>
      <vt:lpstr>Cohort</vt:lpstr>
      <vt:lpstr>Cohort</vt:lpstr>
      <vt:lpstr>Epidemic Curve by Sex</vt:lpstr>
      <vt:lpstr>Cases Description</vt:lpstr>
      <vt:lpstr>Cases Description</vt:lpstr>
      <vt:lpstr>Cases Description</vt:lpstr>
      <vt:lpstr>Outcomes and Admission Delay</vt:lpstr>
      <vt:lpstr>Outcomes and Initial Ct </vt:lpstr>
      <vt:lpstr>Treatments</vt:lpstr>
      <vt:lpstr>Predictors of EVD Outcomes and Complications </vt:lpstr>
      <vt:lpstr>Independent Predictors of EVD Outcome (Adjusted Risk Ratios) </vt:lpstr>
      <vt:lpstr>Relative Effects of Covariates on Survival Tim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YLANCE, Jamie</dc:creator>
  <cp:lastModifiedBy>Chaillon, Antoine</cp:lastModifiedBy>
  <cp:revision>12</cp:revision>
  <dcterms:created xsi:type="dcterms:W3CDTF">2025-04-25T12:43:16Z</dcterms:created>
  <dcterms:modified xsi:type="dcterms:W3CDTF">2025-10-30T11:0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32682F4F9C1D44A6C609BC469A6292</vt:lpwstr>
  </property>
  <property fmtid="{D5CDD505-2E9C-101B-9397-08002B2CF9AE}" pid="3" name="MediaServiceImageTags">
    <vt:lpwstr/>
  </property>
</Properties>
</file>